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73" r:id="rId1"/>
    <p:sldMasterId id="2147483678" r:id="rId2"/>
    <p:sldMasterId id="2147483685" r:id="rId3"/>
    <p:sldMasterId id="2147483697" r:id="rId4"/>
    <p:sldMasterId id="2147483730" r:id="rId5"/>
    <p:sldMasterId id="2147484899" r:id="rId6"/>
    <p:sldMasterId id="2147485410" r:id="rId7"/>
  </p:sldMasterIdLst>
  <p:notesMasterIdLst>
    <p:notesMasterId r:id="rId23"/>
  </p:notesMasterIdLst>
  <p:handoutMasterIdLst>
    <p:handoutMasterId r:id="rId24"/>
  </p:handoutMasterIdLst>
  <p:sldIdLst>
    <p:sldId id="2134806336" r:id="rId8"/>
    <p:sldId id="2134806320" r:id="rId9"/>
    <p:sldId id="2134806241" r:id="rId10"/>
    <p:sldId id="2134806330" r:id="rId11"/>
    <p:sldId id="2134806339" r:id="rId12"/>
    <p:sldId id="2134806331" r:id="rId13"/>
    <p:sldId id="2134806335" r:id="rId14"/>
    <p:sldId id="2134806269" r:id="rId15"/>
    <p:sldId id="2134806337" r:id="rId16"/>
    <p:sldId id="2134806338" r:id="rId17"/>
    <p:sldId id="2134806332" r:id="rId18"/>
    <p:sldId id="2134806340" r:id="rId19"/>
    <p:sldId id="2134806333" r:id="rId20"/>
    <p:sldId id="2134806341" r:id="rId21"/>
    <p:sldId id="2134806334" r:id="rId22"/>
  </p:sldIdLst>
  <p:sldSz cx="12192000" cy="6858000"/>
  <p:notesSz cx="6858000" cy="9144000"/>
  <p:custDataLst>
    <p:tags r:id="rId25"/>
  </p:custData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Раздел по умолчанию" id="{A3A39358-42A3-4201-B2C1-C9FD2E651B2F}">
          <p14:sldIdLst>
            <p14:sldId id="2134806336"/>
            <p14:sldId id="2134806320"/>
            <p14:sldId id="2134806241"/>
            <p14:sldId id="2134806330"/>
            <p14:sldId id="2134806339"/>
            <p14:sldId id="2134806331"/>
            <p14:sldId id="2134806335"/>
            <p14:sldId id="2134806269"/>
            <p14:sldId id="2134806337"/>
            <p14:sldId id="2134806338"/>
            <p14:sldId id="2134806332"/>
            <p14:sldId id="2134806340"/>
            <p14:sldId id="2134806333"/>
            <p14:sldId id="2134806341"/>
            <p14:sldId id="2134806334"/>
          </p14:sldIdLst>
        </p14:section>
      </p14:sectionLst>
    </p:ext>
    <p:ext uri="{EFAFB233-063F-42B5-8137-9DF3F51BA10A}">
      <p15:sldGuideLst xmlns:p15="http://schemas.microsoft.com/office/powerpoint/2012/main">
        <p15:guide id="1" orient="horz" pos="1656" userDrawn="1">
          <p15:clr>
            <a:srgbClr val="A4A3A4"/>
          </p15:clr>
        </p15:guide>
        <p15:guide id="21" userDrawn="1">
          <p15:clr>
            <a:srgbClr val="A4A3A4"/>
          </p15:clr>
        </p15:guide>
        <p15:guide id="47" orient="horz" pos="3163" userDrawn="1">
          <p15:clr>
            <a:srgbClr val="A4A3A4"/>
          </p15:clr>
        </p15:guide>
        <p15:guide id="66" pos="4679" userDrawn="1">
          <p15:clr>
            <a:srgbClr val="A4A3A4"/>
          </p15:clr>
        </p15:guide>
        <p15:guide id="75" orient="horz" pos="2523" userDrawn="1">
          <p15:clr>
            <a:srgbClr val="A4A3A4"/>
          </p15:clr>
        </p15:guide>
        <p15:guide id="76" orient="horz" pos="3816" userDrawn="1">
          <p15:clr>
            <a:srgbClr val="A4A3A4"/>
          </p15:clr>
        </p15:guide>
        <p15:guide id="78" orient="horz" pos="1094" userDrawn="1">
          <p15:clr>
            <a:srgbClr val="A4A3A4"/>
          </p15:clr>
        </p15:guide>
        <p15:guide id="79" pos="3840" userDrawn="1">
          <p15:clr>
            <a:srgbClr val="A4A3A4"/>
          </p15:clr>
        </p15:guide>
        <p15:guide id="82" pos="6811" userDrawn="1">
          <p15:clr>
            <a:srgbClr val="A4A3A4"/>
          </p15:clr>
        </p15:guide>
        <p15:guide id="83" pos="461" userDrawn="1">
          <p15:clr>
            <a:srgbClr val="A4A3A4"/>
          </p15:clr>
        </p15:guide>
        <p15:guide id="84" pos="7605" userDrawn="1">
          <p15:clr>
            <a:srgbClr val="A4A3A4"/>
          </p15:clr>
        </p15:guide>
        <p15:guide id="85" pos="1708" userDrawn="1">
          <p15:clr>
            <a:srgbClr val="A4A3A4"/>
          </p15:clr>
        </p15:guide>
        <p15:guide id="88" orient="horz" pos="3012" userDrawn="1">
          <p15:clr>
            <a:srgbClr val="A4A3A4"/>
          </p15:clr>
        </p15:guide>
        <p15:guide id="89" orient="horz" pos="1570" userDrawn="1">
          <p15:clr>
            <a:srgbClr val="A4A3A4"/>
          </p15:clr>
        </p15:guide>
        <p15:guide id="90" orient="horz" pos="1298"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7E2789-BA1F-4CFC-DCC7-3CA0D04D8AE8}" name="STEPANCHENKO, D. (Dmitrii)" initials="SD(" userId="S::dmitrii.stepanchenko@ing.com::30c9d29d-ac41-46ff-b2be-c3f5dd1e26e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Андреев Даниил Юрьевич" initials="АДЮ [2]" lastIdx="3" clrIdx="6">
    <p:extLst>
      <p:ext uri="{19B8F6BF-5375-455C-9EA6-DF929625EA0E}">
        <p15:presenceInfo xmlns:p15="http://schemas.microsoft.com/office/powerpoint/2012/main" userId="S-1-5-21-12604286-1394344279-468603755-1270333" providerId="AD"/>
      </p:ext>
    </p:extLst>
  </p:cmAuthor>
  <p:cmAuthor id="1" name="Дрючевский Дмитрий Викторович" initials="ДДВ" lastIdx="1" clrIdx="0">
    <p:extLst>
      <p:ext uri="{19B8F6BF-5375-455C-9EA6-DF929625EA0E}">
        <p15:presenceInfo xmlns:p15="http://schemas.microsoft.com/office/powerpoint/2012/main" userId="Дрючевский Дмитрий Викторович" providerId="None"/>
      </p:ext>
    </p:extLst>
  </p:cmAuthor>
  <p:cmAuthor id="8" name="ДС" initials="ДС" lastIdx="6" clrIdx="7">
    <p:extLst>
      <p:ext uri="{19B8F6BF-5375-455C-9EA6-DF929625EA0E}">
        <p15:presenceInfo xmlns:p15="http://schemas.microsoft.com/office/powerpoint/2012/main" userId="ДС" providerId="None"/>
      </p:ext>
    </p:extLst>
  </p:cmAuthor>
  <p:cmAuthor id="2" name="Степанченко Дмитрий Сергеевич" initials="СДС" lastIdx="219" clrIdx="1">
    <p:extLst>
      <p:ext uri="{19B8F6BF-5375-455C-9EA6-DF929625EA0E}">
        <p15:presenceInfo xmlns:p15="http://schemas.microsoft.com/office/powerpoint/2012/main" userId="Степанченко Дмитрий Сергеевич" providerId="None"/>
      </p:ext>
    </p:extLst>
  </p:cmAuthor>
  <p:cmAuthor id="3" name="Андреев Даниил Юрьевич" initials="АДЮ" lastIdx="27" clrIdx="2">
    <p:extLst>
      <p:ext uri="{19B8F6BF-5375-455C-9EA6-DF929625EA0E}">
        <p15:presenceInfo xmlns:p15="http://schemas.microsoft.com/office/powerpoint/2012/main" userId="Андреев Даниил Юрьевич" providerId="None"/>
      </p:ext>
    </p:extLst>
  </p:cmAuthor>
  <p:cmAuthor id="4" name="Гостев Андрей Сергеевич" initials="ГАС" lastIdx="43" clrIdx="3">
    <p:extLst>
      <p:ext uri="{19B8F6BF-5375-455C-9EA6-DF929625EA0E}">
        <p15:presenceInfo xmlns:p15="http://schemas.microsoft.com/office/powerpoint/2012/main" userId="Гостев Андрей Сергеевич" providerId="None"/>
      </p:ext>
    </p:extLst>
  </p:cmAuthor>
  <p:cmAuthor id="5" name="Ростов Олег Евгеньевич" initials="РОЕ" lastIdx="30" clrIdx="4">
    <p:extLst>
      <p:ext uri="{19B8F6BF-5375-455C-9EA6-DF929625EA0E}">
        <p15:presenceInfo xmlns:p15="http://schemas.microsoft.com/office/powerpoint/2012/main" userId="Ростов Олег Евгеньевич" providerId="None"/>
      </p:ext>
    </p:extLst>
  </p:cmAuthor>
  <p:cmAuthor id="6" name="Соловьев Георгий Александрович" initials="СГА" lastIdx="3" clrIdx="5">
    <p:extLst>
      <p:ext uri="{19B8F6BF-5375-455C-9EA6-DF929625EA0E}">
        <p15:presenceInfo xmlns:p15="http://schemas.microsoft.com/office/powerpoint/2012/main" userId="Соловьев Георгий Александрович"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E0E"/>
    <a:srgbClr val="00B050"/>
    <a:srgbClr val="C55A11"/>
    <a:srgbClr val="1F4E79"/>
    <a:srgbClr val="5B9BD5"/>
    <a:srgbClr val="ED7D31"/>
    <a:srgbClr val="7F7F7F"/>
    <a:srgbClr val="BB00DA"/>
    <a:srgbClr val="808080"/>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1089F27-2CA7-4F6B-AF97-026CBAF4CD7A}" v="316" dt="2023-02-20T18:38:41.023"/>
  </p1510:revLst>
</p1510:revInfo>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D7AC3CCA-C797-4891-BE02-D94E43425B78}" styleName="Средний стиль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EB344D84-9AFB-497E-A393-DC336BA19D2E}" styleName="Средний стиль 3 — акцент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B301B821-A1FF-4177-AEE7-76D212191A09}" styleName="Средний стиль 1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427" autoAdjust="0"/>
    <p:restoredTop sz="93979" autoAdjust="0"/>
  </p:normalViewPr>
  <p:slideViewPr>
    <p:cSldViewPr snapToGrid="0">
      <p:cViewPr varScale="1">
        <p:scale>
          <a:sx n="81" d="100"/>
          <a:sy n="81" d="100"/>
        </p:scale>
        <p:origin x="86" y="163"/>
      </p:cViewPr>
      <p:guideLst>
        <p:guide orient="horz" pos="1656"/>
        <p:guide/>
        <p:guide orient="horz" pos="3163"/>
        <p:guide pos="4679"/>
        <p:guide orient="horz" pos="2523"/>
        <p:guide orient="horz" pos="3816"/>
        <p:guide orient="horz" pos="1094"/>
        <p:guide pos="3840"/>
        <p:guide pos="6811"/>
        <p:guide pos="461"/>
        <p:guide pos="7605"/>
        <p:guide pos="1708"/>
        <p:guide orient="horz" pos="3012"/>
        <p:guide orient="horz" pos="1570"/>
        <p:guide orient="horz" pos="1298"/>
      </p:guideLst>
    </p:cSldViewPr>
  </p:slideViewPr>
  <p:outlineViewPr>
    <p:cViewPr>
      <p:scale>
        <a:sx n="33" d="100"/>
        <a:sy n="33" d="100"/>
      </p:scale>
      <p:origin x="0" y="0"/>
    </p:cViewPr>
  </p:outlineViewPr>
  <p:notesTextViewPr>
    <p:cViewPr>
      <p:scale>
        <a:sx n="110" d="100"/>
        <a:sy n="110" d="100"/>
      </p:scale>
      <p:origin x="0" y="0"/>
    </p:cViewPr>
  </p:notesTextViewPr>
  <p:notesViewPr>
    <p:cSldViewPr snapToGrid="0">
      <p:cViewPr varScale="1">
        <p:scale>
          <a:sx n="50" d="100"/>
          <a:sy n="50" d="100"/>
        </p:scale>
        <p:origin x="2640" y="3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slide" Target="slides/slide14.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gs" Target="tags/tag1.xml"/><Relationship Id="rId33"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handoutMaster" Target="handoutMasters/handoutMaster1.xml"/><Relationship Id="rId32"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PANCHENKO, D. (Dmitrii)" userId="30c9d29d-ac41-46ff-b2be-c3f5dd1e26e1" providerId="ADAL" clId="{0D4D30D3-52F8-490C-8E8C-24DC58349B06}"/>
    <pc:docChg chg="undo redo custSel addSld delSld modSld sldOrd modSection">
      <pc:chgData name="STEPANCHENKO, D. (Dmitrii)" userId="30c9d29d-ac41-46ff-b2be-c3f5dd1e26e1" providerId="ADAL" clId="{0D4D30D3-52F8-490C-8E8C-24DC58349B06}" dt="2022-12-31T10:28:41.364" v="8161" actId="13926"/>
      <pc:docMkLst>
        <pc:docMk/>
      </pc:docMkLst>
      <pc:sldChg chg="modSp mod">
        <pc:chgData name="STEPANCHENKO, D. (Dmitrii)" userId="30c9d29d-ac41-46ff-b2be-c3f5dd1e26e1" providerId="ADAL" clId="{0D4D30D3-52F8-490C-8E8C-24DC58349B06}" dt="2022-12-22T12:48:30.071" v="3688" actId="6549"/>
        <pc:sldMkLst>
          <pc:docMk/>
          <pc:sldMk cId="1150082579" sldId="2134806261"/>
        </pc:sldMkLst>
        <pc:spChg chg="mod">
          <ac:chgData name="STEPANCHENKO, D. (Dmitrii)" userId="30c9d29d-ac41-46ff-b2be-c3f5dd1e26e1" providerId="ADAL" clId="{0D4D30D3-52F8-490C-8E8C-24DC58349B06}" dt="2022-12-22T12:48:30.071" v="3688" actId="6549"/>
          <ac:spMkLst>
            <pc:docMk/>
            <pc:sldMk cId="1150082579" sldId="2134806261"/>
            <ac:spMk id="7" creationId="{00000000-0000-0000-0000-000000000000}"/>
          </ac:spMkLst>
        </pc:spChg>
      </pc:sldChg>
      <pc:sldChg chg="addSp delSp modSp mod delAnim">
        <pc:chgData name="STEPANCHENKO, D. (Dmitrii)" userId="30c9d29d-ac41-46ff-b2be-c3f5dd1e26e1" providerId="ADAL" clId="{0D4D30D3-52F8-490C-8E8C-24DC58349B06}" dt="2022-12-31T10:21:30.044" v="7983" actId="27918"/>
        <pc:sldMkLst>
          <pc:docMk/>
          <pc:sldMk cId="826615147" sldId="2134806265"/>
        </pc:sldMkLst>
        <pc:graphicFrameChg chg="del mod">
          <ac:chgData name="STEPANCHENKO, D. (Dmitrii)" userId="30c9d29d-ac41-46ff-b2be-c3f5dd1e26e1" providerId="ADAL" clId="{0D4D30D3-52F8-490C-8E8C-24DC58349B06}" dt="2022-12-27T17:25:19.333" v="7169" actId="478"/>
          <ac:graphicFrameMkLst>
            <pc:docMk/>
            <pc:sldMk cId="826615147" sldId="2134806265"/>
            <ac:graphicFrameMk id="8" creationId="{00000000-0000-0000-0000-000000000000}"/>
          </ac:graphicFrameMkLst>
        </pc:graphicFrameChg>
        <pc:graphicFrameChg chg="add mod">
          <ac:chgData name="STEPANCHENKO, D. (Dmitrii)" userId="30c9d29d-ac41-46ff-b2be-c3f5dd1e26e1" providerId="ADAL" clId="{0D4D30D3-52F8-490C-8E8C-24DC58349B06}" dt="2022-12-27T17:28:32.210" v="7249" actId="20577"/>
          <ac:graphicFrameMkLst>
            <pc:docMk/>
            <pc:sldMk cId="826615147" sldId="2134806265"/>
            <ac:graphicFrameMk id="10" creationId="{C1650B40-7C97-475C-93CC-E7F2AD0C6074}"/>
          </ac:graphicFrameMkLst>
        </pc:graphicFrameChg>
      </pc:sldChg>
      <pc:sldChg chg="modSp mod">
        <pc:chgData name="STEPANCHENKO, D. (Dmitrii)" userId="30c9d29d-ac41-46ff-b2be-c3f5dd1e26e1" providerId="ADAL" clId="{0D4D30D3-52F8-490C-8E8C-24DC58349B06}" dt="2022-12-23T13:40:58.391" v="6370" actId="20577"/>
        <pc:sldMkLst>
          <pc:docMk/>
          <pc:sldMk cId="4146022198" sldId="2134806269"/>
        </pc:sldMkLst>
        <pc:spChg chg="mod">
          <ac:chgData name="STEPANCHENKO, D. (Dmitrii)" userId="30c9d29d-ac41-46ff-b2be-c3f5dd1e26e1" providerId="ADAL" clId="{0D4D30D3-52F8-490C-8E8C-24DC58349B06}" dt="2022-12-23T13:40:58.391" v="6370" actId="20577"/>
          <ac:spMkLst>
            <pc:docMk/>
            <pc:sldMk cId="4146022198" sldId="2134806269"/>
            <ac:spMk id="5" creationId="{81BD1123-3626-1C45-BF5B-1C1864FA8AFA}"/>
          </ac:spMkLst>
        </pc:spChg>
      </pc:sldChg>
      <pc:sldChg chg="addCm">
        <pc:chgData name="STEPANCHENKO, D. (Dmitrii)" userId="30c9d29d-ac41-46ff-b2be-c3f5dd1e26e1" providerId="ADAL" clId="{0D4D30D3-52F8-490C-8E8C-24DC58349B06}" dt="2022-12-22T10:08:14.113" v="2370"/>
        <pc:sldMkLst>
          <pc:docMk/>
          <pc:sldMk cId="1937308450" sldId="2134806270"/>
        </pc:sldMkLst>
      </pc:sldChg>
      <pc:sldChg chg="modSp mod">
        <pc:chgData name="STEPANCHENKO, D. (Dmitrii)" userId="30c9d29d-ac41-46ff-b2be-c3f5dd1e26e1" providerId="ADAL" clId="{0D4D30D3-52F8-490C-8E8C-24DC58349B06}" dt="2022-12-23T13:40:32.162" v="6358" actId="20577"/>
        <pc:sldMkLst>
          <pc:docMk/>
          <pc:sldMk cId="3806807723" sldId="2134806271"/>
        </pc:sldMkLst>
        <pc:spChg chg="mod">
          <ac:chgData name="STEPANCHENKO, D. (Dmitrii)" userId="30c9d29d-ac41-46ff-b2be-c3f5dd1e26e1" providerId="ADAL" clId="{0D4D30D3-52F8-490C-8E8C-24DC58349B06}" dt="2022-12-23T13:40:32.162" v="6358" actId="20577"/>
          <ac:spMkLst>
            <pc:docMk/>
            <pc:sldMk cId="3806807723" sldId="2134806271"/>
            <ac:spMk id="5" creationId="{81BD1123-3626-1C45-BF5B-1C1864FA8AFA}"/>
          </ac:spMkLst>
        </pc:spChg>
        <pc:graphicFrameChg chg="mod modGraphic">
          <ac:chgData name="STEPANCHENKO, D. (Dmitrii)" userId="30c9d29d-ac41-46ff-b2be-c3f5dd1e26e1" providerId="ADAL" clId="{0D4D30D3-52F8-490C-8E8C-24DC58349B06}" dt="2022-12-22T12:30:38.710" v="3516" actId="14100"/>
          <ac:graphicFrameMkLst>
            <pc:docMk/>
            <pc:sldMk cId="3806807723" sldId="2134806271"/>
            <ac:graphicFrameMk id="4" creationId="{4FA4670E-7F8F-F66C-8A96-9C378A643C68}"/>
          </ac:graphicFrameMkLst>
        </pc:graphicFrameChg>
      </pc:sldChg>
      <pc:sldChg chg="del ord">
        <pc:chgData name="STEPANCHENKO, D. (Dmitrii)" userId="30c9d29d-ac41-46ff-b2be-c3f5dd1e26e1" providerId="ADAL" clId="{0D4D30D3-52F8-490C-8E8C-24DC58349B06}" dt="2022-12-22T12:49:49.034" v="3691" actId="47"/>
        <pc:sldMkLst>
          <pc:docMk/>
          <pc:sldMk cId="465747562" sldId="2134806272"/>
        </pc:sldMkLst>
      </pc:sldChg>
      <pc:sldChg chg="del">
        <pc:chgData name="STEPANCHENKO, D. (Dmitrii)" userId="30c9d29d-ac41-46ff-b2be-c3f5dd1e26e1" providerId="ADAL" clId="{0D4D30D3-52F8-490C-8E8C-24DC58349B06}" dt="2022-12-22T12:49:50.216" v="3692" actId="47"/>
        <pc:sldMkLst>
          <pc:docMk/>
          <pc:sldMk cId="2131309805" sldId="2134806273"/>
        </pc:sldMkLst>
      </pc:sldChg>
      <pc:sldChg chg="del">
        <pc:chgData name="STEPANCHENKO, D. (Dmitrii)" userId="30c9d29d-ac41-46ff-b2be-c3f5dd1e26e1" providerId="ADAL" clId="{0D4D30D3-52F8-490C-8E8C-24DC58349B06}" dt="2022-12-22T12:59:01.396" v="3959" actId="47"/>
        <pc:sldMkLst>
          <pc:docMk/>
          <pc:sldMk cId="2186333978" sldId="2134806274"/>
        </pc:sldMkLst>
      </pc:sldChg>
      <pc:sldChg chg="modSp del mod">
        <pc:chgData name="STEPANCHENKO, D. (Dmitrii)" userId="30c9d29d-ac41-46ff-b2be-c3f5dd1e26e1" providerId="ADAL" clId="{0D4D30D3-52F8-490C-8E8C-24DC58349B06}" dt="2022-12-20T15:43:48.419" v="110" actId="47"/>
        <pc:sldMkLst>
          <pc:docMk/>
          <pc:sldMk cId="4005348636" sldId="2134806275"/>
        </pc:sldMkLst>
        <pc:spChg chg="mod">
          <ac:chgData name="STEPANCHENKO, D. (Dmitrii)" userId="30c9d29d-ac41-46ff-b2be-c3f5dd1e26e1" providerId="ADAL" clId="{0D4D30D3-52F8-490C-8E8C-24DC58349B06}" dt="2022-12-19T15:09:12.604" v="2" actId="20577"/>
          <ac:spMkLst>
            <pc:docMk/>
            <pc:sldMk cId="4005348636" sldId="2134806275"/>
            <ac:spMk id="5" creationId="{81BD1123-3626-1C45-BF5B-1C1864FA8AFA}"/>
          </ac:spMkLst>
        </pc:spChg>
      </pc:sldChg>
      <pc:sldChg chg="del">
        <pc:chgData name="STEPANCHENKO, D. (Dmitrii)" userId="30c9d29d-ac41-46ff-b2be-c3f5dd1e26e1" providerId="ADAL" clId="{0D4D30D3-52F8-490C-8E8C-24DC58349B06}" dt="2022-12-22T12:59:01.396" v="3959" actId="47"/>
        <pc:sldMkLst>
          <pc:docMk/>
          <pc:sldMk cId="1163832783" sldId="2134806276"/>
        </pc:sldMkLst>
      </pc:sldChg>
      <pc:sldChg chg="del">
        <pc:chgData name="STEPANCHENKO, D. (Dmitrii)" userId="30c9d29d-ac41-46ff-b2be-c3f5dd1e26e1" providerId="ADAL" clId="{0D4D30D3-52F8-490C-8E8C-24DC58349B06}" dt="2022-12-22T12:59:01.396" v="3959" actId="47"/>
        <pc:sldMkLst>
          <pc:docMk/>
          <pc:sldMk cId="1278494145" sldId="2134806277"/>
        </pc:sldMkLst>
      </pc:sldChg>
      <pc:sldChg chg="del">
        <pc:chgData name="STEPANCHENKO, D. (Dmitrii)" userId="30c9d29d-ac41-46ff-b2be-c3f5dd1e26e1" providerId="ADAL" clId="{0D4D30D3-52F8-490C-8E8C-24DC58349B06}" dt="2022-12-22T12:59:01.396" v="3959" actId="47"/>
        <pc:sldMkLst>
          <pc:docMk/>
          <pc:sldMk cId="4133406611" sldId="2134806278"/>
        </pc:sldMkLst>
      </pc:sldChg>
      <pc:sldChg chg="del">
        <pc:chgData name="STEPANCHENKO, D. (Dmitrii)" userId="30c9d29d-ac41-46ff-b2be-c3f5dd1e26e1" providerId="ADAL" clId="{0D4D30D3-52F8-490C-8E8C-24DC58349B06}" dt="2022-12-22T12:59:01.396" v="3959" actId="47"/>
        <pc:sldMkLst>
          <pc:docMk/>
          <pc:sldMk cId="420433722" sldId="2134806279"/>
        </pc:sldMkLst>
      </pc:sldChg>
      <pc:sldChg chg="del">
        <pc:chgData name="STEPANCHENKO, D. (Dmitrii)" userId="30c9d29d-ac41-46ff-b2be-c3f5dd1e26e1" providerId="ADAL" clId="{0D4D30D3-52F8-490C-8E8C-24DC58349B06}" dt="2022-12-22T12:59:01.396" v="3959" actId="47"/>
        <pc:sldMkLst>
          <pc:docMk/>
          <pc:sldMk cId="3644147675" sldId="2134806280"/>
        </pc:sldMkLst>
      </pc:sldChg>
      <pc:sldChg chg="del">
        <pc:chgData name="STEPANCHENKO, D. (Dmitrii)" userId="30c9d29d-ac41-46ff-b2be-c3f5dd1e26e1" providerId="ADAL" clId="{0D4D30D3-52F8-490C-8E8C-24DC58349B06}" dt="2022-12-22T12:59:01.396" v="3959" actId="47"/>
        <pc:sldMkLst>
          <pc:docMk/>
          <pc:sldMk cId="2384841978" sldId="2134806281"/>
        </pc:sldMkLst>
      </pc:sldChg>
      <pc:sldChg chg="del">
        <pc:chgData name="STEPANCHENKO, D. (Dmitrii)" userId="30c9d29d-ac41-46ff-b2be-c3f5dd1e26e1" providerId="ADAL" clId="{0D4D30D3-52F8-490C-8E8C-24DC58349B06}" dt="2022-12-22T12:59:01.396" v="3959" actId="47"/>
        <pc:sldMkLst>
          <pc:docMk/>
          <pc:sldMk cId="1359392184" sldId="2134806282"/>
        </pc:sldMkLst>
      </pc:sldChg>
      <pc:sldChg chg="del">
        <pc:chgData name="STEPANCHENKO, D. (Dmitrii)" userId="30c9d29d-ac41-46ff-b2be-c3f5dd1e26e1" providerId="ADAL" clId="{0D4D30D3-52F8-490C-8E8C-24DC58349B06}" dt="2022-12-22T12:59:01.396" v="3959" actId="47"/>
        <pc:sldMkLst>
          <pc:docMk/>
          <pc:sldMk cId="763459013" sldId="2134806283"/>
        </pc:sldMkLst>
      </pc:sldChg>
      <pc:sldChg chg="del">
        <pc:chgData name="STEPANCHENKO, D. (Dmitrii)" userId="30c9d29d-ac41-46ff-b2be-c3f5dd1e26e1" providerId="ADAL" clId="{0D4D30D3-52F8-490C-8E8C-24DC58349B06}" dt="2022-12-22T12:59:01.396" v="3959" actId="47"/>
        <pc:sldMkLst>
          <pc:docMk/>
          <pc:sldMk cId="597763636" sldId="2134806284"/>
        </pc:sldMkLst>
      </pc:sldChg>
      <pc:sldChg chg="del">
        <pc:chgData name="STEPANCHENKO, D. (Dmitrii)" userId="30c9d29d-ac41-46ff-b2be-c3f5dd1e26e1" providerId="ADAL" clId="{0D4D30D3-52F8-490C-8E8C-24DC58349B06}" dt="2022-12-22T12:59:01.396" v="3959" actId="47"/>
        <pc:sldMkLst>
          <pc:docMk/>
          <pc:sldMk cId="2611480545" sldId="2134806285"/>
        </pc:sldMkLst>
      </pc:sldChg>
      <pc:sldChg chg="del">
        <pc:chgData name="STEPANCHENKO, D. (Dmitrii)" userId="30c9d29d-ac41-46ff-b2be-c3f5dd1e26e1" providerId="ADAL" clId="{0D4D30D3-52F8-490C-8E8C-24DC58349B06}" dt="2022-12-22T12:59:01.396" v="3959" actId="47"/>
        <pc:sldMkLst>
          <pc:docMk/>
          <pc:sldMk cId="2681946265" sldId="2134806286"/>
        </pc:sldMkLst>
      </pc:sldChg>
      <pc:sldChg chg="del">
        <pc:chgData name="STEPANCHENKO, D. (Dmitrii)" userId="30c9d29d-ac41-46ff-b2be-c3f5dd1e26e1" providerId="ADAL" clId="{0D4D30D3-52F8-490C-8E8C-24DC58349B06}" dt="2022-12-22T12:59:01.396" v="3959" actId="47"/>
        <pc:sldMkLst>
          <pc:docMk/>
          <pc:sldMk cId="3215440964" sldId="2134806287"/>
        </pc:sldMkLst>
      </pc:sldChg>
      <pc:sldChg chg="modSp mod">
        <pc:chgData name="STEPANCHENKO, D. (Dmitrii)" userId="30c9d29d-ac41-46ff-b2be-c3f5dd1e26e1" providerId="ADAL" clId="{0D4D30D3-52F8-490C-8E8C-24DC58349B06}" dt="2022-12-20T15:43:53.119" v="114" actId="20577"/>
        <pc:sldMkLst>
          <pc:docMk/>
          <pc:sldMk cId="2322687294" sldId="2134806289"/>
        </pc:sldMkLst>
        <pc:spChg chg="mod">
          <ac:chgData name="STEPANCHENKO, D. (Dmitrii)" userId="30c9d29d-ac41-46ff-b2be-c3f5dd1e26e1" providerId="ADAL" clId="{0D4D30D3-52F8-490C-8E8C-24DC58349B06}" dt="2022-12-20T15:43:53.119" v="114" actId="20577"/>
          <ac:spMkLst>
            <pc:docMk/>
            <pc:sldMk cId="2322687294" sldId="2134806289"/>
            <ac:spMk id="5" creationId="{81BD1123-3626-1C45-BF5B-1C1864FA8AFA}"/>
          </ac:spMkLst>
        </pc:spChg>
      </pc:sldChg>
      <pc:sldChg chg="del">
        <pc:chgData name="STEPANCHENKO, D. (Dmitrii)" userId="30c9d29d-ac41-46ff-b2be-c3f5dd1e26e1" providerId="ADAL" clId="{0D4D30D3-52F8-490C-8E8C-24DC58349B06}" dt="2022-12-20T15:46:13.264" v="118" actId="47"/>
        <pc:sldMkLst>
          <pc:docMk/>
          <pc:sldMk cId="1645705839" sldId="2134806290"/>
        </pc:sldMkLst>
      </pc:sldChg>
      <pc:sldChg chg="modSp del mod">
        <pc:chgData name="STEPANCHENKO, D. (Dmitrii)" userId="30c9d29d-ac41-46ff-b2be-c3f5dd1e26e1" providerId="ADAL" clId="{0D4D30D3-52F8-490C-8E8C-24DC58349B06}" dt="2022-12-20T15:50:10.935" v="124" actId="47"/>
        <pc:sldMkLst>
          <pc:docMk/>
          <pc:sldMk cId="3032188021" sldId="2134806291"/>
        </pc:sldMkLst>
        <pc:picChg chg="mod">
          <ac:chgData name="STEPANCHENKO, D. (Dmitrii)" userId="30c9d29d-ac41-46ff-b2be-c3f5dd1e26e1" providerId="ADAL" clId="{0D4D30D3-52F8-490C-8E8C-24DC58349B06}" dt="2022-12-20T15:47:57.360" v="123" actId="1036"/>
          <ac:picMkLst>
            <pc:docMk/>
            <pc:sldMk cId="3032188021" sldId="2134806291"/>
            <ac:picMk id="3" creationId="{00000000-0000-0000-0000-000000000000}"/>
          </ac:picMkLst>
        </pc:picChg>
      </pc:sldChg>
      <pc:sldChg chg="del">
        <pc:chgData name="STEPANCHENKO, D. (Dmitrii)" userId="30c9d29d-ac41-46ff-b2be-c3f5dd1e26e1" providerId="ADAL" clId="{0D4D30D3-52F8-490C-8E8C-24DC58349B06}" dt="2022-12-20T15:50:10.935" v="124" actId="47"/>
        <pc:sldMkLst>
          <pc:docMk/>
          <pc:sldMk cId="1967090604" sldId="2134806292"/>
        </pc:sldMkLst>
      </pc:sldChg>
      <pc:sldChg chg="addSp delSp modSp mod delAnim modAnim">
        <pc:chgData name="STEPANCHENKO, D. (Dmitrii)" userId="30c9d29d-ac41-46ff-b2be-c3f5dd1e26e1" providerId="ADAL" clId="{0D4D30D3-52F8-490C-8E8C-24DC58349B06}" dt="2022-12-22T10:28:00.545" v="2467"/>
        <pc:sldMkLst>
          <pc:docMk/>
          <pc:sldMk cId="1987294738" sldId="2134806293"/>
        </pc:sldMkLst>
        <pc:spChg chg="mod">
          <ac:chgData name="STEPANCHENKO, D. (Dmitrii)" userId="30c9d29d-ac41-46ff-b2be-c3f5dd1e26e1" providerId="ADAL" clId="{0D4D30D3-52F8-490C-8E8C-24DC58349B06}" dt="2022-12-20T15:56:34.207" v="352" actId="20577"/>
          <ac:spMkLst>
            <pc:docMk/>
            <pc:sldMk cId="1987294738" sldId="2134806293"/>
            <ac:spMk id="5" creationId="{81BD1123-3626-1C45-BF5B-1C1864FA8AFA}"/>
          </ac:spMkLst>
        </pc:spChg>
        <pc:spChg chg="add del mod">
          <ac:chgData name="STEPANCHENKO, D. (Dmitrii)" userId="30c9d29d-ac41-46ff-b2be-c3f5dd1e26e1" providerId="ADAL" clId="{0D4D30D3-52F8-490C-8E8C-24DC58349B06}" dt="2022-12-20T16:19:14.249" v="1053" actId="478"/>
          <ac:spMkLst>
            <pc:docMk/>
            <pc:sldMk cId="1987294738" sldId="2134806293"/>
            <ac:spMk id="6" creationId="{0FF84AE5-C9A0-4DE9-B4E8-D87E7C2518FA}"/>
          </ac:spMkLst>
        </pc:spChg>
        <pc:spChg chg="add mod">
          <ac:chgData name="STEPANCHENKO, D. (Dmitrii)" userId="30c9d29d-ac41-46ff-b2be-c3f5dd1e26e1" providerId="ADAL" clId="{0D4D30D3-52F8-490C-8E8C-24DC58349B06}" dt="2022-12-22T10:28:00.545" v="2467"/>
          <ac:spMkLst>
            <pc:docMk/>
            <pc:sldMk cId="1987294738" sldId="2134806293"/>
            <ac:spMk id="10" creationId="{A6E92ECF-270A-44BB-8587-F040D6AE0666}"/>
          </ac:spMkLst>
        </pc:spChg>
        <pc:spChg chg="add mod">
          <ac:chgData name="STEPANCHENKO, D. (Dmitrii)" userId="30c9d29d-ac41-46ff-b2be-c3f5dd1e26e1" providerId="ADAL" clId="{0D4D30D3-52F8-490C-8E8C-24DC58349B06}" dt="2022-12-20T16:27:41.348" v="1386" actId="208"/>
          <ac:spMkLst>
            <pc:docMk/>
            <pc:sldMk cId="1987294738" sldId="2134806293"/>
            <ac:spMk id="11" creationId="{4A89C080-E02A-4114-9A18-64ED1A28D56E}"/>
          </ac:spMkLst>
        </pc:spChg>
        <pc:spChg chg="add mod">
          <ac:chgData name="STEPANCHENKO, D. (Dmitrii)" userId="30c9d29d-ac41-46ff-b2be-c3f5dd1e26e1" providerId="ADAL" clId="{0D4D30D3-52F8-490C-8E8C-24DC58349B06}" dt="2022-12-20T16:21:40.471" v="1205" actId="20577"/>
          <ac:spMkLst>
            <pc:docMk/>
            <pc:sldMk cId="1987294738" sldId="2134806293"/>
            <ac:spMk id="12" creationId="{5BECD0C1-26C4-4E02-BB63-25E01F272DF2}"/>
          </ac:spMkLst>
        </pc:spChg>
        <pc:spChg chg="add mod">
          <ac:chgData name="STEPANCHENKO, D. (Dmitrii)" userId="30c9d29d-ac41-46ff-b2be-c3f5dd1e26e1" providerId="ADAL" clId="{0D4D30D3-52F8-490C-8E8C-24DC58349B06}" dt="2022-12-20T16:26:33.454" v="1362" actId="20577"/>
          <ac:spMkLst>
            <pc:docMk/>
            <pc:sldMk cId="1987294738" sldId="2134806293"/>
            <ac:spMk id="13" creationId="{4D660AA7-3162-4D46-B4E1-8000203E46DB}"/>
          </ac:spMkLst>
        </pc:spChg>
        <pc:graphicFrameChg chg="add del mod">
          <ac:chgData name="STEPANCHENKO, D. (Dmitrii)" userId="30c9d29d-ac41-46ff-b2be-c3f5dd1e26e1" providerId="ADAL" clId="{0D4D30D3-52F8-490C-8E8C-24DC58349B06}" dt="2022-12-20T16:34:38.870" v="1398"/>
          <ac:graphicFrameMkLst>
            <pc:docMk/>
            <pc:sldMk cId="1987294738" sldId="2134806293"/>
            <ac:graphicFrameMk id="14" creationId="{D1851D2D-DE16-444C-B780-CA148C9D8928}"/>
          </ac:graphicFrameMkLst>
        </pc:graphicFrameChg>
        <pc:picChg chg="del mod">
          <ac:chgData name="STEPANCHENKO, D. (Dmitrii)" userId="30c9d29d-ac41-46ff-b2be-c3f5dd1e26e1" providerId="ADAL" clId="{0D4D30D3-52F8-490C-8E8C-24DC58349B06}" dt="2022-12-20T16:18:08.958" v="988" actId="478"/>
          <ac:picMkLst>
            <pc:docMk/>
            <pc:sldMk cId="1987294738" sldId="2134806293"/>
            <ac:picMk id="3" creationId="{00000000-0000-0000-0000-000000000000}"/>
          </ac:picMkLst>
        </pc:picChg>
        <pc:picChg chg="add mod">
          <ac:chgData name="STEPANCHENKO, D. (Dmitrii)" userId="30c9d29d-ac41-46ff-b2be-c3f5dd1e26e1" providerId="ADAL" clId="{0D4D30D3-52F8-490C-8E8C-24DC58349B06}" dt="2022-12-20T16:18:15.786" v="990" actId="1076"/>
          <ac:picMkLst>
            <pc:docMk/>
            <pc:sldMk cId="1987294738" sldId="2134806293"/>
            <ac:picMk id="7" creationId="{DA22D0AB-A3F3-4384-959B-21FC75464F37}"/>
          </ac:picMkLst>
        </pc:picChg>
        <pc:picChg chg="add mod">
          <ac:chgData name="STEPANCHENKO, D. (Dmitrii)" userId="30c9d29d-ac41-46ff-b2be-c3f5dd1e26e1" providerId="ADAL" clId="{0D4D30D3-52F8-490C-8E8C-24DC58349B06}" dt="2022-12-20T16:26:45.244" v="1364" actId="14100"/>
          <ac:picMkLst>
            <pc:docMk/>
            <pc:sldMk cId="1987294738" sldId="2134806293"/>
            <ac:picMk id="9" creationId="{D4025C18-5336-4476-B071-56F399D22E06}"/>
          </ac:picMkLst>
        </pc:picChg>
      </pc:sldChg>
      <pc:sldChg chg="addSp delSp modSp del mod">
        <pc:chgData name="STEPANCHENKO, D. (Dmitrii)" userId="30c9d29d-ac41-46ff-b2be-c3f5dd1e26e1" providerId="ADAL" clId="{0D4D30D3-52F8-490C-8E8C-24DC58349B06}" dt="2022-12-22T12:31:20.916" v="3519" actId="47"/>
        <pc:sldMkLst>
          <pc:docMk/>
          <pc:sldMk cId="768855087" sldId="2134806294"/>
        </pc:sldMkLst>
        <pc:spChg chg="mod">
          <ac:chgData name="STEPANCHENKO, D. (Dmitrii)" userId="30c9d29d-ac41-46ff-b2be-c3f5dd1e26e1" providerId="ADAL" clId="{0D4D30D3-52F8-490C-8E8C-24DC58349B06}" dt="2022-12-20T16:42:06.943" v="1810" actId="20577"/>
          <ac:spMkLst>
            <pc:docMk/>
            <pc:sldMk cId="768855087" sldId="2134806294"/>
            <ac:spMk id="5" creationId="{81BD1123-3626-1C45-BF5B-1C1864FA8AFA}"/>
          </ac:spMkLst>
        </pc:spChg>
        <pc:spChg chg="add del mod">
          <ac:chgData name="STEPANCHENKO, D. (Dmitrii)" userId="30c9d29d-ac41-46ff-b2be-c3f5dd1e26e1" providerId="ADAL" clId="{0D4D30D3-52F8-490C-8E8C-24DC58349B06}" dt="2022-12-20T16:42:07.005" v="1812" actId="1076"/>
          <ac:spMkLst>
            <pc:docMk/>
            <pc:sldMk cId="768855087" sldId="2134806294"/>
            <ac:spMk id="6" creationId="{1CF3E204-C5F7-485E-8060-F34F0D0DEBBF}"/>
          </ac:spMkLst>
        </pc:spChg>
        <pc:picChg chg="add del">
          <ac:chgData name="STEPANCHENKO, D. (Dmitrii)" userId="30c9d29d-ac41-46ff-b2be-c3f5dd1e26e1" providerId="ADAL" clId="{0D4D30D3-52F8-490C-8E8C-24DC58349B06}" dt="2022-12-20T16:42:06.665" v="1802" actId="478"/>
          <ac:picMkLst>
            <pc:docMk/>
            <pc:sldMk cId="768855087" sldId="2134806294"/>
            <ac:picMk id="3" creationId="{00000000-0000-0000-0000-000000000000}"/>
          </ac:picMkLst>
        </pc:picChg>
      </pc:sldChg>
      <pc:sldChg chg="del">
        <pc:chgData name="STEPANCHENKO, D. (Dmitrii)" userId="30c9d29d-ac41-46ff-b2be-c3f5dd1e26e1" providerId="ADAL" clId="{0D4D30D3-52F8-490C-8E8C-24DC58349B06}" dt="2022-12-22T12:49:44.626" v="3689" actId="47"/>
        <pc:sldMkLst>
          <pc:docMk/>
          <pc:sldMk cId="2786211852" sldId="2134806295"/>
        </pc:sldMkLst>
      </pc:sldChg>
      <pc:sldChg chg="del">
        <pc:chgData name="STEPANCHENKO, D. (Dmitrii)" userId="30c9d29d-ac41-46ff-b2be-c3f5dd1e26e1" providerId="ADAL" clId="{0D4D30D3-52F8-490C-8E8C-24DC58349B06}" dt="2022-12-22T12:49:47.744" v="3690" actId="47"/>
        <pc:sldMkLst>
          <pc:docMk/>
          <pc:sldMk cId="4029849662" sldId="2134806296"/>
        </pc:sldMkLst>
      </pc:sldChg>
      <pc:sldChg chg="del ord">
        <pc:chgData name="STEPANCHENKO, D. (Dmitrii)" userId="30c9d29d-ac41-46ff-b2be-c3f5dd1e26e1" providerId="ADAL" clId="{0D4D30D3-52F8-490C-8E8C-24DC58349B06}" dt="2022-12-22T12:59:01.396" v="3959" actId="47"/>
        <pc:sldMkLst>
          <pc:docMk/>
          <pc:sldMk cId="159284185" sldId="2134806297"/>
        </pc:sldMkLst>
      </pc:sldChg>
      <pc:sldChg chg="del">
        <pc:chgData name="STEPANCHENKO, D. (Dmitrii)" userId="30c9d29d-ac41-46ff-b2be-c3f5dd1e26e1" providerId="ADAL" clId="{0D4D30D3-52F8-490C-8E8C-24DC58349B06}" dt="2022-12-22T12:59:01.396" v="3959" actId="47"/>
        <pc:sldMkLst>
          <pc:docMk/>
          <pc:sldMk cId="393586463" sldId="2134806299"/>
        </pc:sldMkLst>
      </pc:sldChg>
      <pc:sldChg chg="del">
        <pc:chgData name="STEPANCHENKO, D. (Dmitrii)" userId="30c9d29d-ac41-46ff-b2be-c3f5dd1e26e1" providerId="ADAL" clId="{0D4D30D3-52F8-490C-8E8C-24DC58349B06}" dt="2022-12-22T12:59:01.396" v="3959" actId="47"/>
        <pc:sldMkLst>
          <pc:docMk/>
          <pc:sldMk cId="3261876613" sldId="2134806300"/>
        </pc:sldMkLst>
      </pc:sldChg>
      <pc:sldChg chg="del">
        <pc:chgData name="STEPANCHENKO, D. (Dmitrii)" userId="30c9d29d-ac41-46ff-b2be-c3f5dd1e26e1" providerId="ADAL" clId="{0D4D30D3-52F8-490C-8E8C-24DC58349B06}" dt="2022-12-22T12:59:01.396" v="3959" actId="47"/>
        <pc:sldMkLst>
          <pc:docMk/>
          <pc:sldMk cId="1378941183" sldId="2134806301"/>
        </pc:sldMkLst>
      </pc:sldChg>
      <pc:sldChg chg="del">
        <pc:chgData name="STEPANCHENKO, D. (Dmitrii)" userId="30c9d29d-ac41-46ff-b2be-c3f5dd1e26e1" providerId="ADAL" clId="{0D4D30D3-52F8-490C-8E8C-24DC58349B06}" dt="2022-12-22T12:59:01.396" v="3959" actId="47"/>
        <pc:sldMkLst>
          <pc:docMk/>
          <pc:sldMk cId="751992006" sldId="2134806302"/>
        </pc:sldMkLst>
      </pc:sldChg>
      <pc:sldChg chg="del">
        <pc:chgData name="STEPANCHENKO, D. (Dmitrii)" userId="30c9d29d-ac41-46ff-b2be-c3f5dd1e26e1" providerId="ADAL" clId="{0D4D30D3-52F8-490C-8E8C-24DC58349B06}" dt="2022-12-22T12:59:01.396" v="3959" actId="47"/>
        <pc:sldMkLst>
          <pc:docMk/>
          <pc:sldMk cId="1179045703" sldId="2134806303"/>
        </pc:sldMkLst>
      </pc:sldChg>
      <pc:sldChg chg="del">
        <pc:chgData name="STEPANCHENKO, D. (Dmitrii)" userId="30c9d29d-ac41-46ff-b2be-c3f5dd1e26e1" providerId="ADAL" clId="{0D4D30D3-52F8-490C-8E8C-24DC58349B06}" dt="2022-12-22T12:59:01.396" v="3959" actId="47"/>
        <pc:sldMkLst>
          <pc:docMk/>
          <pc:sldMk cId="3935444841" sldId="2134806304"/>
        </pc:sldMkLst>
      </pc:sldChg>
      <pc:sldChg chg="del">
        <pc:chgData name="STEPANCHENKO, D. (Dmitrii)" userId="30c9d29d-ac41-46ff-b2be-c3f5dd1e26e1" providerId="ADAL" clId="{0D4D30D3-52F8-490C-8E8C-24DC58349B06}" dt="2022-12-22T12:59:01.396" v="3959" actId="47"/>
        <pc:sldMkLst>
          <pc:docMk/>
          <pc:sldMk cId="2553354500" sldId="2134806305"/>
        </pc:sldMkLst>
      </pc:sldChg>
      <pc:sldChg chg="del">
        <pc:chgData name="STEPANCHENKO, D. (Dmitrii)" userId="30c9d29d-ac41-46ff-b2be-c3f5dd1e26e1" providerId="ADAL" clId="{0D4D30D3-52F8-490C-8E8C-24DC58349B06}" dt="2022-12-22T12:59:01.396" v="3959" actId="47"/>
        <pc:sldMkLst>
          <pc:docMk/>
          <pc:sldMk cId="996619461" sldId="2134806306"/>
        </pc:sldMkLst>
      </pc:sldChg>
      <pc:sldChg chg="del">
        <pc:chgData name="STEPANCHENKO, D. (Dmitrii)" userId="30c9d29d-ac41-46ff-b2be-c3f5dd1e26e1" providerId="ADAL" clId="{0D4D30D3-52F8-490C-8E8C-24DC58349B06}" dt="2022-12-22T12:59:01.396" v="3959" actId="47"/>
        <pc:sldMkLst>
          <pc:docMk/>
          <pc:sldMk cId="4134940107" sldId="2134806307"/>
        </pc:sldMkLst>
      </pc:sldChg>
      <pc:sldChg chg="del">
        <pc:chgData name="STEPANCHENKO, D. (Dmitrii)" userId="30c9d29d-ac41-46ff-b2be-c3f5dd1e26e1" providerId="ADAL" clId="{0D4D30D3-52F8-490C-8E8C-24DC58349B06}" dt="2022-12-22T12:59:01.396" v="3959" actId="47"/>
        <pc:sldMkLst>
          <pc:docMk/>
          <pc:sldMk cId="2968128511" sldId="2134806308"/>
        </pc:sldMkLst>
      </pc:sldChg>
      <pc:sldChg chg="del">
        <pc:chgData name="STEPANCHENKO, D. (Dmitrii)" userId="30c9d29d-ac41-46ff-b2be-c3f5dd1e26e1" providerId="ADAL" clId="{0D4D30D3-52F8-490C-8E8C-24DC58349B06}" dt="2022-12-22T12:59:01.396" v="3959" actId="47"/>
        <pc:sldMkLst>
          <pc:docMk/>
          <pc:sldMk cId="1648649634" sldId="2134806309"/>
        </pc:sldMkLst>
      </pc:sldChg>
      <pc:sldChg chg="del">
        <pc:chgData name="STEPANCHENKO, D. (Dmitrii)" userId="30c9d29d-ac41-46ff-b2be-c3f5dd1e26e1" providerId="ADAL" clId="{0D4D30D3-52F8-490C-8E8C-24DC58349B06}" dt="2022-12-22T12:59:01.396" v="3959" actId="47"/>
        <pc:sldMkLst>
          <pc:docMk/>
          <pc:sldMk cId="3572535388" sldId="2134806310"/>
        </pc:sldMkLst>
      </pc:sldChg>
      <pc:sldChg chg="del">
        <pc:chgData name="STEPANCHENKO, D. (Dmitrii)" userId="30c9d29d-ac41-46ff-b2be-c3f5dd1e26e1" providerId="ADAL" clId="{0D4D30D3-52F8-490C-8E8C-24DC58349B06}" dt="2022-12-22T12:59:01.396" v="3959" actId="47"/>
        <pc:sldMkLst>
          <pc:docMk/>
          <pc:sldMk cId="1975556139" sldId="2134806311"/>
        </pc:sldMkLst>
      </pc:sldChg>
      <pc:sldChg chg="del">
        <pc:chgData name="STEPANCHENKO, D. (Dmitrii)" userId="30c9d29d-ac41-46ff-b2be-c3f5dd1e26e1" providerId="ADAL" clId="{0D4D30D3-52F8-490C-8E8C-24DC58349B06}" dt="2022-12-22T12:59:01.396" v="3959" actId="47"/>
        <pc:sldMkLst>
          <pc:docMk/>
          <pc:sldMk cId="3387427612" sldId="2134806312"/>
        </pc:sldMkLst>
      </pc:sldChg>
      <pc:sldChg chg="del">
        <pc:chgData name="STEPANCHENKO, D. (Dmitrii)" userId="30c9d29d-ac41-46ff-b2be-c3f5dd1e26e1" providerId="ADAL" clId="{0D4D30D3-52F8-490C-8E8C-24DC58349B06}" dt="2022-12-22T12:59:01.396" v="3959" actId="47"/>
        <pc:sldMkLst>
          <pc:docMk/>
          <pc:sldMk cId="2008184749" sldId="2134806313"/>
        </pc:sldMkLst>
      </pc:sldChg>
      <pc:sldChg chg="del">
        <pc:chgData name="STEPANCHENKO, D. (Dmitrii)" userId="30c9d29d-ac41-46ff-b2be-c3f5dd1e26e1" providerId="ADAL" clId="{0D4D30D3-52F8-490C-8E8C-24DC58349B06}" dt="2022-12-22T12:59:01.396" v="3959" actId="47"/>
        <pc:sldMkLst>
          <pc:docMk/>
          <pc:sldMk cId="2034877266" sldId="2134806315"/>
        </pc:sldMkLst>
      </pc:sldChg>
      <pc:sldChg chg="del">
        <pc:chgData name="STEPANCHENKO, D. (Dmitrii)" userId="30c9d29d-ac41-46ff-b2be-c3f5dd1e26e1" providerId="ADAL" clId="{0D4D30D3-52F8-490C-8E8C-24DC58349B06}" dt="2022-12-22T12:59:01.396" v="3959" actId="47"/>
        <pc:sldMkLst>
          <pc:docMk/>
          <pc:sldMk cId="1174979796" sldId="2134806316"/>
        </pc:sldMkLst>
      </pc:sldChg>
      <pc:sldChg chg="modSp mod">
        <pc:chgData name="STEPANCHENKO, D. (Dmitrii)" userId="30c9d29d-ac41-46ff-b2be-c3f5dd1e26e1" providerId="ADAL" clId="{0D4D30D3-52F8-490C-8E8C-24DC58349B06}" dt="2022-12-20T15:18:35.965" v="90" actId="20577"/>
        <pc:sldMkLst>
          <pc:docMk/>
          <pc:sldMk cId="860713518" sldId="2134806317"/>
        </pc:sldMkLst>
        <pc:spChg chg="mod">
          <ac:chgData name="STEPANCHENKO, D. (Dmitrii)" userId="30c9d29d-ac41-46ff-b2be-c3f5dd1e26e1" providerId="ADAL" clId="{0D4D30D3-52F8-490C-8E8C-24DC58349B06}" dt="2022-12-20T15:18:35.965" v="90" actId="20577"/>
          <ac:spMkLst>
            <pc:docMk/>
            <pc:sldMk cId="860713518" sldId="2134806317"/>
            <ac:spMk id="6" creationId="{CA023485-E4D0-17B0-F130-39357FD06C63}"/>
          </ac:spMkLst>
        </pc:spChg>
      </pc:sldChg>
      <pc:sldChg chg="modSp mod">
        <pc:chgData name="STEPANCHENKO, D. (Dmitrii)" userId="30c9d29d-ac41-46ff-b2be-c3f5dd1e26e1" providerId="ADAL" clId="{0D4D30D3-52F8-490C-8E8C-24DC58349B06}" dt="2022-12-23T13:40:46.057" v="6364" actId="20577"/>
        <pc:sldMkLst>
          <pc:docMk/>
          <pc:sldMk cId="2401638851" sldId="2134806322"/>
        </pc:sldMkLst>
        <pc:spChg chg="mod">
          <ac:chgData name="STEPANCHENKO, D. (Dmitrii)" userId="30c9d29d-ac41-46ff-b2be-c3f5dd1e26e1" providerId="ADAL" clId="{0D4D30D3-52F8-490C-8E8C-24DC58349B06}" dt="2022-12-23T13:40:46.057" v="6364" actId="20577"/>
          <ac:spMkLst>
            <pc:docMk/>
            <pc:sldMk cId="2401638851" sldId="2134806322"/>
            <ac:spMk id="2" creationId="{00000000-0000-0000-0000-000000000000}"/>
          </ac:spMkLst>
        </pc:spChg>
        <pc:spChg chg="mod">
          <ac:chgData name="STEPANCHENKO, D. (Dmitrii)" userId="30c9d29d-ac41-46ff-b2be-c3f5dd1e26e1" providerId="ADAL" clId="{0D4D30D3-52F8-490C-8E8C-24DC58349B06}" dt="2022-12-22T12:54:13.802" v="3846" actId="20577"/>
          <ac:spMkLst>
            <pc:docMk/>
            <pc:sldMk cId="2401638851" sldId="2134806322"/>
            <ac:spMk id="7" creationId="{00000000-0000-0000-0000-000000000000}"/>
          </ac:spMkLst>
        </pc:spChg>
      </pc:sldChg>
      <pc:sldChg chg="modSp mod">
        <pc:chgData name="STEPANCHENKO, D. (Dmitrii)" userId="30c9d29d-ac41-46ff-b2be-c3f5dd1e26e1" providerId="ADAL" clId="{0D4D30D3-52F8-490C-8E8C-24DC58349B06}" dt="2022-12-19T15:54:29.375" v="14" actId="14100"/>
        <pc:sldMkLst>
          <pc:docMk/>
          <pc:sldMk cId="2685767378" sldId="2134806323"/>
        </pc:sldMkLst>
        <pc:picChg chg="mod">
          <ac:chgData name="STEPANCHENKO, D. (Dmitrii)" userId="30c9d29d-ac41-46ff-b2be-c3f5dd1e26e1" providerId="ADAL" clId="{0D4D30D3-52F8-490C-8E8C-24DC58349B06}" dt="2022-12-19T15:54:29.375" v="14" actId="14100"/>
          <ac:picMkLst>
            <pc:docMk/>
            <pc:sldMk cId="2685767378" sldId="2134806323"/>
            <ac:picMk id="8" creationId="{859F07BF-952C-5522-F3B4-D6BDC8ADDAEF}"/>
          </ac:picMkLst>
        </pc:picChg>
      </pc:sldChg>
      <pc:sldChg chg="modSp add del mod modShow">
        <pc:chgData name="STEPANCHENKO, D. (Dmitrii)" userId="30c9d29d-ac41-46ff-b2be-c3f5dd1e26e1" providerId="ADAL" clId="{0D4D30D3-52F8-490C-8E8C-24DC58349B06}" dt="2022-12-20T15:38:15.334" v="98" actId="47"/>
        <pc:sldMkLst>
          <pc:docMk/>
          <pc:sldMk cId="4070705944" sldId="2134806325"/>
        </pc:sldMkLst>
        <pc:spChg chg="mod">
          <ac:chgData name="STEPANCHENKO, D. (Dmitrii)" userId="30c9d29d-ac41-46ff-b2be-c3f5dd1e26e1" providerId="ADAL" clId="{0D4D30D3-52F8-490C-8E8C-24DC58349B06}" dt="2022-12-19T15:09:16.360" v="5" actId="20577"/>
          <ac:spMkLst>
            <pc:docMk/>
            <pc:sldMk cId="4070705944" sldId="2134806325"/>
            <ac:spMk id="5" creationId="{81BD1123-3626-1C45-BF5B-1C1864FA8AFA}"/>
          </ac:spMkLst>
        </pc:spChg>
      </pc:sldChg>
      <pc:sldChg chg="addSp delSp modSp add del mod ord">
        <pc:chgData name="STEPANCHENKO, D. (Dmitrii)" userId="30c9d29d-ac41-46ff-b2be-c3f5dd1e26e1" providerId="ADAL" clId="{0D4D30D3-52F8-490C-8E8C-24DC58349B06}" dt="2022-12-31T09:54:41.024" v="7683" actId="20577"/>
        <pc:sldMkLst>
          <pc:docMk/>
          <pc:sldMk cId="521703837" sldId="2134806326"/>
        </pc:sldMkLst>
        <pc:spChg chg="mod">
          <ac:chgData name="STEPANCHENKO, D. (Dmitrii)" userId="30c9d29d-ac41-46ff-b2be-c3f5dd1e26e1" providerId="ADAL" clId="{0D4D30D3-52F8-490C-8E8C-24DC58349B06}" dt="2022-12-22T10:23:47.305" v="2402" actId="20577"/>
          <ac:spMkLst>
            <pc:docMk/>
            <pc:sldMk cId="521703837" sldId="2134806326"/>
            <ac:spMk id="5" creationId="{81BD1123-3626-1C45-BF5B-1C1864FA8AFA}"/>
          </ac:spMkLst>
        </pc:spChg>
        <pc:spChg chg="mod">
          <ac:chgData name="STEPANCHENKO, D. (Dmitrii)" userId="30c9d29d-ac41-46ff-b2be-c3f5dd1e26e1" providerId="ADAL" clId="{0D4D30D3-52F8-490C-8E8C-24DC58349B06}" dt="2022-12-22T10:27:56.484" v="2466" actId="20577"/>
          <ac:spMkLst>
            <pc:docMk/>
            <pc:sldMk cId="521703837" sldId="2134806326"/>
            <ac:spMk id="6" creationId="{55DC015C-12FE-A55C-DF36-68759984506F}"/>
          </ac:spMkLst>
        </pc:spChg>
        <pc:spChg chg="mod">
          <ac:chgData name="STEPANCHENKO, D. (Dmitrii)" userId="30c9d29d-ac41-46ff-b2be-c3f5dd1e26e1" providerId="ADAL" clId="{0D4D30D3-52F8-490C-8E8C-24DC58349B06}" dt="2022-12-31T09:35:49.419" v="7368" actId="1036"/>
          <ac:spMkLst>
            <pc:docMk/>
            <pc:sldMk cId="521703837" sldId="2134806326"/>
            <ac:spMk id="8" creationId="{9EBC456F-B5A9-419C-BE04-72F06FDA7584}"/>
          </ac:spMkLst>
        </pc:spChg>
        <pc:spChg chg="add del mod">
          <ac:chgData name="STEPANCHENKO, D. (Dmitrii)" userId="30c9d29d-ac41-46ff-b2be-c3f5dd1e26e1" providerId="ADAL" clId="{0D4D30D3-52F8-490C-8E8C-24DC58349B06}" dt="2022-12-31T09:54:41.024" v="7683" actId="20577"/>
          <ac:spMkLst>
            <pc:docMk/>
            <pc:sldMk cId="521703837" sldId="2134806326"/>
            <ac:spMk id="9" creationId="{5EC41978-1730-74B4-27A0-640FFDB857C0}"/>
          </ac:spMkLst>
        </pc:spChg>
        <pc:spChg chg="add del mod">
          <ac:chgData name="STEPANCHENKO, D. (Dmitrii)" userId="30c9d29d-ac41-46ff-b2be-c3f5dd1e26e1" providerId="ADAL" clId="{0D4D30D3-52F8-490C-8E8C-24DC58349B06}" dt="2022-12-22T10:58:33.416" v="2962" actId="478"/>
          <ac:spMkLst>
            <pc:docMk/>
            <pc:sldMk cId="521703837" sldId="2134806326"/>
            <ac:spMk id="10" creationId="{806A6482-8A70-492E-A503-E30CF4A1A76F}"/>
          </ac:spMkLst>
        </pc:spChg>
        <pc:spChg chg="add mod">
          <ac:chgData name="STEPANCHENKO, D. (Dmitrii)" userId="30c9d29d-ac41-46ff-b2be-c3f5dd1e26e1" providerId="ADAL" clId="{0D4D30D3-52F8-490C-8E8C-24DC58349B06}" dt="2022-12-31T09:35:49.419" v="7368" actId="1036"/>
          <ac:spMkLst>
            <pc:docMk/>
            <pc:sldMk cId="521703837" sldId="2134806326"/>
            <ac:spMk id="12" creationId="{620F6558-3CC6-4F30-B3B7-548CD84FF264}"/>
          </ac:spMkLst>
        </pc:spChg>
        <pc:spChg chg="add mod">
          <ac:chgData name="STEPANCHENKO, D. (Dmitrii)" userId="30c9d29d-ac41-46ff-b2be-c3f5dd1e26e1" providerId="ADAL" clId="{0D4D30D3-52F8-490C-8E8C-24DC58349B06}" dt="2022-12-31T09:36:27.774" v="7376" actId="14100"/>
          <ac:spMkLst>
            <pc:docMk/>
            <pc:sldMk cId="521703837" sldId="2134806326"/>
            <ac:spMk id="13" creationId="{16BA56AD-B511-423F-BF15-E0DDC142DC6C}"/>
          </ac:spMkLst>
        </pc:spChg>
        <pc:graphicFrameChg chg="mod">
          <ac:chgData name="STEPANCHENKO, D. (Dmitrii)" userId="30c9d29d-ac41-46ff-b2be-c3f5dd1e26e1" providerId="ADAL" clId="{0D4D30D3-52F8-490C-8E8C-24DC58349B06}" dt="2022-12-31T09:35:49.419" v="7368" actId="1036"/>
          <ac:graphicFrameMkLst>
            <pc:docMk/>
            <pc:sldMk cId="521703837" sldId="2134806326"/>
            <ac:graphicFrameMk id="4" creationId="{11CFC757-5727-5D67-8831-9EC4CE6B6F84}"/>
          </ac:graphicFrameMkLst>
        </pc:graphicFrameChg>
        <pc:graphicFrameChg chg="mod">
          <ac:chgData name="STEPANCHENKO, D. (Dmitrii)" userId="30c9d29d-ac41-46ff-b2be-c3f5dd1e26e1" providerId="ADAL" clId="{0D4D30D3-52F8-490C-8E8C-24DC58349B06}" dt="2022-12-31T09:35:49.419" v="7368" actId="1036"/>
          <ac:graphicFrameMkLst>
            <pc:docMk/>
            <pc:sldMk cId="521703837" sldId="2134806326"/>
            <ac:graphicFrameMk id="11" creationId="{B2FF438D-1B50-288E-3939-8606CECB8F6D}"/>
          </ac:graphicFrameMkLst>
        </pc:graphicFrameChg>
        <pc:picChg chg="add mod">
          <ac:chgData name="STEPANCHENKO, D. (Dmitrii)" userId="30c9d29d-ac41-46ff-b2be-c3f5dd1e26e1" providerId="ADAL" clId="{0D4D30D3-52F8-490C-8E8C-24DC58349B06}" dt="2022-12-31T09:35:49.419" v="7368" actId="1036"/>
          <ac:picMkLst>
            <pc:docMk/>
            <pc:sldMk cId="521703837" sldId="2134806326"/>
            <ac:picMk id="7" creationId="{8625A218-042A-4189-9755-9777A62C5EA6}"/>
          </ac:picMkLst>
        </pc:picChg>
      </pc:sldChg>
      <pc:sldChg chg="addSp delSp modSp add mod">
        <pc:chgData name="STEPANCHENKO, D. (Dmitrii)" userId="30c9d29d-ac41-46ff-b2be-c3f5dd1e26e1" providerId="ADAL" clId="{0D4D30D3-52F8-490C-8E8C-24DC58349B06}" dt="2022-12-22T10:01:56.921" v="2369" actId="20577"/>
        <pc:sldMkLst>
          <pc:docMk/>
          <pc:sldMk cId="1383993538" sldId="2134806327"/>
        </pc:sldMkLst>
        <pc:spChg chg="mod">
          <ac:chgData name="STEPANCHENKO, D. (Dmitrii)" userId="30c9d29d-ac41-46ff-b2be-c3f5dd1e26e1" providerId="ADAL" clId="{0D4D30D3-52F8-490C-8E8C-24DC58349B06}" dt="2022-12-22T09:45:58.758" v="1964" actId="20577"/>
          <ac:spMkLst>
            <pc:docMk/>
            <pc:sldMk cId="1383993538" sldId="2134806327"/>
            <ac:spMk id="5" creationId="{81BD1123-3626-1C45-BF5B-1C1864FA8AFA}"/>
          </ac:spMkLst>
        </pc:spChg>
        <pc:spChg chg="add mod">
          <ac:chgData name="STEPANCHENKO, D. (Dmitrii)" userId="30c9d29d-ac41-46ff-b2be-c3f5dd1e26e1" providerId="ADAL" clId="{0D4D30D3-52F8-490C-8E8C-24DC58349B06}" dt="2022-12-22T10:01:56.921" v="2369" actId="20577"/>
          <ac:spMkLst>
            <pc:docMk/>
            <pc:sldMk cId="1383993538" sldId="2134806327"/>
            <ac:spMk id="8" creationId="{5DECFFF7-4DDD-4DFE-AF09-04E3986FCD1F}"/>
          </ac:spMkLst>
        </pc:spChg>
        <pc:spChg chg="add mod">
          <ac:chgData name="STEPANCHENKO, D. (Dmitrii)" userId="30c9d29d-ac41-46ff-b2be-c3f5dd1e26e1" providerId="ADAL" clId="{0D4D30D3-52F8-490C-8E8C-24DC58349B06}" dt="2022-12-22T10:01:17.126" v="2349" actId="1076"/>
          <ac:spMkLst>
            <pc:docMk/>
            <pc:sldMk cId="1383993538" sldId="2134806327"/>
            <ac:spMk id="10" creationId="{52B6EE28-6B94-4077-8B54-07A0416DBEFA}"/>
          </ac:spMkLst>
        </pc:spChg>
        <pc:spChg chg="del">
          <ac:chgData name="STEPANCHENKO, D. (Dmitrii)" userId="30c9d29d-ac41-46ff-b2be-c3f5dd1e26e1" providerId="ADAL" clId="{0D4D30D3-52F8-490C-8E8C-24DC58349B06}" dt="2022-12-20T16:34:44.640" v="1400" actId="478"/>
          <ac:spMkLst>
            <pc:docMk/>
            <pc:sldMk cId="1383993538" sldId="2134806327"/>
            <ac:spMk id="11" creationId="{4A89C080-E02A-4114-9A18-64ED1A28D56E}"/>
          </ac:spMkLst>
        </pc:spChg>
        <pc:spChg chg="del">
          <ac:chgData name="STEPANCHENKO, D. (Dmitrii)" userId="30c9d29d-ac41-46ff-b2be-c3f5dd1e26e1" providerId="ADAL" clId="{0D4D30D3-52F8-490C-8E8C-24DC58349B06}" dt="2022-12-20T16:34:44.640" v="1400" actId="478"/>
          <ac:spMkLst>
            <pc:docMk/>
            <pc:sldMk cId="1383993538" sldId="2134806327"/>
            <ac:spMk id="12" creationId="{5BECD0C1-26C4-4E02-BB63-25E01F272DF2}"/>
          </ac:spMkLst>
        </pc:spChg>
        <pc:spChg chg="del">
          <ac:chgData name="STEPANCHENKO, D. (Dmitrii)" userId="30c9d29d-ac41-46ff-b2be-c3f5dd1e26e1" providerId="ADAL" clId="{0D4D30D3-52F8-490C-8E8C-24DC58349B06}" dt="2022-12-20T16:34:44.640" v="1400" actId="478"/>
          <ac:spMkLst>
            <pc:docMk/>
            <pc:sldMk cId="1383993538" sldId="2134806327"/>
            <ac:spMk id="13" creationId="{4D660AA7-3162-4D46-B4E1-8000203E46DB}"/>
          </ac:spMkLst>
        </pc:spChg>
        <pc:graphicFrameChg chg="add del mod modGraphic">
          <ac:chgData name="STEPANCHENKO, D. (Dmitrii)" userId="30c9d29d-ac41-46ff-b2be-c3f5dd1e26e1" providerId="ADAL" clId="{0D4D30D3-52F8-490C-8E8C-24DC58349B06}" dt="2022-12-20T16:36:16.328" v="1510" actId="478"/>
          <ac:graphicFrameMkLst>
            <pc:docMk/>
            <pc:sldMk cId="1383993538" sldId="2134806327"/>
            <ac:graphicFrameMk id="10" creationId="{3310C69A-4A59-409C-B749-7558BA926B2A}"/>
          </ac:graphicFrameMkLst>
        </pc:graphicFrameChg>
        <pc:graphicFrameChg chg="add del mod modGraphic">
          <ac:chgData name="STEPANCHENKO, D. (Dmitrii)" userId="30c9d29d-ac41-46ff-b2be-c3f5dd1e26e1" providerId="ADAL" clId="{0D4D30D3-52F8-490C-8E8C-24DC58349B06}" dt="2022-12-22T09:45:47.617" v="1919" actId="478"/>
          <ac:graphicFrameMkLst>
            <pc:docMk/>
            <pc:sldMk cId="1383993538" sldId="2134806327"/>
            <ac:graphicFrameMk id="14" creationId="{C5F7A9A8-78D1-454D-96FA-2A934AA6F49F}"/>
          </ac:graphicFrameMkLst>
        </pc:graphicFrameChg>
        <pc:picChg chg="add del mod">
          <ac:chgData name="STEPANCHENKO, D. (Dmitrii)" userId="30c9d29d-ac41-46ff-b2be-c3f5dd1e26e1" providerId="ADAL" clId="{0D4D30D3-52F8-490C-8E8C-24DC58349B06}" dt="2022-12-22T09:48:24.263" v="1970" actId="478"/>
          <ac:picMkLst>
            <pc:docMk/>
            <pc:sldMk cId="1383993538" sldId="2134806327"/>
            <ac:picMk id="6" creationId="{6325DA81-834F-46E0-85C1-8409AF1941DA}"/>
          </ac:picMkLst>
        </pc:picChg>
        <pc:picChg chg="add del mod">
          <ac:chgData name="STEPANCHENKO, D. (Dmitrii)" userId="30c9d29d-ac41-46ff-b2be-c3f5dd1e26e1" providerId="ADAL" clId="{0D4D30D3-52F8-490C-8E8C-24DC58349B06}" dt="2022-12-22T09:48:24.263" v="1970" actId="478"/>
          <ac:picMkLst>
            <pc:docMk/>
            <pc:sldMk cId="1383993538" sldId="2134806327"/>
            <ac:picMk id="7" creationId="{2244AFB4-AA32-4AF0-B985-4ABE4B9B2953}"/>
          </ac:picMkLst>
        </pc:picChg>
        <pc:picChg chg="del">
          <ac:chgData name="STEPANCHENKO, D. (Dmitrii)" userId="30c9d29d-ac41-46ff-b2be-c3f5dd1e26e1" providerId="ADAL" clId="{0D4D30D3-52F8-490C-8E8C-24DC58349B06}" dt="2022-12-20T16:34:44.640" v="1400" actId="478"/>
          <ac:picMkLst>
            <pc:docMk/>
            <pc:sldMk cId="1383993538" sldId="2134806327"/>
            <ac:picMk id="7" creationId="{DA22D0AB-A3F3-4384-959B-21FC75464F37}"/>
          </ac:picMkLst>
        </pc:picChg>
        <pc:picChg chg="del">
          <ac:chgData name="STEPANCHENKO, D. (Dmitrii)" userId="30c9d29d-ac41-46ff-b2be-c3f5dd1e26e1" providerId="ADAL" clId="{0D4D30D3-52F8-490C-8E8C-24DC58349B06}" dt="2022-12-20T16:34:44.640" v="1400" actId="478"/>
          <ac:picMkLst>
            <pc:docMk/>
            <pc:sldMk cId="1383993538" sldId="2134806327"/>
            <ac:picMk id="9" creationId="{D4025C18-5336-4476-B071-56F399D22E06}"/>
          </ac:picMkLst>
        </pc:picChg>
      </pc:sldChg>
      <pc:sldChg chg="new del">
        <pc:chgData name="STEPANCHENKO, D. (Dmitrii)" userId="30c9d29d-ac41-46ff-b2be-c3f5dd1e26e1" providerId="ADAL" clId="{0D4D30D3-52F8-490C-8E8C-24DC58349B06}" dt="2022-12-22T09:45:41.975" v="1917" actId="47"/>
        <pc:sldMkLst>
          <pc:docMk/>
          <pc:sldMk cId="1508052118" sldId="2134806328"/>
        </pc:sldMkLst>
      </pc:sldChg>
      <pc:sldChg chg="add del">
        <pc:chgData name="STEPANCHENKO, D. (Dmitrii)" userId="30c9d29d-ac41-46ff-b2be-c3f5dd1e26e1" providerId="ADAL" clId="{0D4D30D3-52F8-490C-8E8C-24DC58349B06}" dt="2022-12-20T16:34:46.210" v="1402"/>
        <pc:sldMkLst>
          <pc:docMk/>
          <pc:sldMk cId="2630810749" sldId="2134806328"/>
        </pc:sldMkLst>
      </pc:sldChg>
      <pc:sldChg chg="modSp add mod ord">
        <pc:chgData name="STEPANCHENKO, D. (Dmitrii)" userId="30c9d29d-ac41-46ff-b2be-c3f5dd1e26e1" providerId="ADAL" clId="{0D4D30D3-52F8-490C-8E8C-24DC58349B06}" dt="2022-12-23T13:41:21.500" v="6394" actId="20577"/>
        <pc:sldMkLst>
          <pc:docMk/>
          <pc:sldMk cId="3352262577" sldId="2134806328"/>
        </pc:sldMkLst>
        <pc:spChg chg="mod">
          <ac:chgData name="STEPANCHENKO, D. (Dmitrii)" userId="30c9d29d-ac41-46ff-b2be-c3f5dd1e26e1" providerId="ADAL" clId="{0D4D30D3-52F8-490C-8E8C-24DC58349B06}" dt="2022-12-23T13:41:21.500" v="6394" actId="20577"/>
          <ac:spMkLst>
            <pc:docMk/>
            <pc:sldMk cId="3352262577" sldId="2134806328"/>
            <ac:spMk id="5" creationId="{81BD1123-3626-1C45-BF5B-1C1864FA8AFA}"/>
          </ac:spMkLst>
        </pc:spChg>
        <pc:graphicFrameChg chg="mod modGraphic">
          <ac:chgData name="STEPANCHENKO, D. (Dmitrii)" userId="30c9d29d-ac41-46ff-b2be-c3f5dd1e26e1" providerId="ADAL" clId="{0D4D30D3-52F8-490C-8E8C-24DC58349B06}" dt="2022-12-22T12:30:47.127" v="3518" actId="14100"/>
          <ac:graphicFrameMkLst>
            <pc:docMk/>
            <pc:sldMk cId="3352262577" sldId="2134806328"/>
            <ac:graphicFrameMk id="14" creationId="{C5F7A9A8-78D1-454D-96FA-2A934AA6F49F}"/>
          </ac:graphicFrameMkLst>
        </pc:graphicFrameChg>
      </pc:sldChg>
      <pc:sldChg chg="addSp delSp modSp add mod ord">
        <pc:chgData name="STEPANCHENKO, D. (Dmitrii)" userId="30c9d29d-ac41-46ff-b2be-c3f5dd1e26e1" providerId="ADAL" clId="{0D4D30D3-52F8-490C-8E8C-24DC58349B06}" dt="2022-12-22T12:17:14.334" v="3143" actId="6549"/>
        <pc:sldMkLst>
          <pc:docMk/>
          <pc:sldMk cId="3274818839" sldId="2134806329"/>
        </pc:sldMkLst>
        <pc:spChg chg="mod">
          <ac:chgData name="STEPANCHENKO, D. (Dmitrii)" userId="30c9d29d-ac41-46ff-b2be-c3f5dd1e26e1" providerId="ADAL" clId="{0D4D30D3-52F8-490C-8E8C-24DC58349B06}" dt="2022-12-22T10:24:08.500" v="2409" actId="20577"/>
          <ac:spMkLst>
            <pc:docMk/>
            <pc:sldMk cId="3274818839" sldId="2134806329"/>
            <ac:spMk id="5" creationId="{81BD1123-3626-1C45-BF5B-1C1864FA8AFA}"/>
          </ac:spMkLst>
        </pc:spChg>
        <pc:spChg chg="add mod">
          <ac:chgData name="STEPANCHENKO, D. (Dmitrii)" userId="30c9d29d-ac41-46ff-b2be-c3f5dd1e26e1" providerId="ADAL" clId="{0D4D30D3-52F8-490C-8E8C-24DC58349B06}" dt="2022-12-22T12:17:14.334" v="3143" actId="6549"/>
          <ac:spMkLst>
            <pc:docMk/>
            <pc:sldMk cId="3274818839" sldId="2134806329"/>
            <ac:spMk id="7" creationId="{05E61C94-C306-46A7-941B-5C78E82C67F8}"/>
          </ac:spMkLst>
        </pc:spChg>
        <pc:spChg chg="add mod">
          <ac:chgData name="STEPANCHENKO, D. (Dmitrii)" userId="30c9d29d-ac41-46ff-b2be-c3f5dd1e26e1" providerId="ADAL" clId="{0D4D30D3-52F8-490C-8E8C-24DC58349B06}" dt="2022-12-22T10:56:57.999" v="2881" actId="20577"/>
          <ac:spMkLst>
            <pc:docMk/>
            <pc:sldMk cId="3274818839" sldId="2134806329"/>
            <ac:spMk id="8" creationId="{02AC0575-0834-48E1-901C-A185C8F7BA93}"/>
          </ac:spMkLst>
        </pc:spChg>
        <pc:spChg chg="add mod">
          <ac:chgData name="STEPANCHENKO, D. (Dmitrii)" userId="30c9d29d-ac41-46ff-b2be-c3f5dd1e26e1" providerId="ADAL" clId="{0D4D30D3-52F8-490C-8E8C-24DC58349B06}" dt="2022-12-22T10:28:02.702" v="2468"/>
          <ac:spMkLst>
            <pc:docMk/>
            <pc:sldMk cId="3274818839" sldId="2134806329"/>
            <ac:spMk id="9" creationId="{D9CA27D6-38EA-4E0D-9C2A-932B2942330F}"/>
          </ac:spMkLst>
        </pc:spChg>
        <pc:graphicFrameChg chg="del">
          <ac:chgData name="STEPANCHENKO, D. (Dmitrii)" userId="30c9d29d-ac41-46ff-b2be-c3f5dd1e26e1" providerId="ADAL" clId="{0D4D30D3-52F8-490C-8E8C-24DC58349B06}" dt="2022-12-22T10:19:53.785" v="2382" actId="478"/>
          <ac:graphicFrameMkLst>
            <pc:docMk/>
            <pc:sldMk cId="3274818839" sldId="2134806329"/>
            <ac:graphicFrameMk id="14" creationId="{C5F7A9A8-78D1-454D-96FA-2A934AA6F49F}"/>
          </ac:graphicFrameMkLst>
        </pc:graphicFrameChg>
        <pc:picChg chg="add del">
          <ac:chgData name="STEPANCHENKO, D. (Dmitrii)" userId="30c9d29d-ac41-46ff-b2be-c3f5dd1e26e1" providerId="ADAL" clId="{0D4D30D3-52F8-490C-8E8C-24DC58349B06}" dt="2022-12-22T10:26:03.226" v="2411" actId="478"/>
          <ac:picMkLst>
            <pc:docMk/>
            <pc:sldMk cId="3274818839" sldId="2134806329"/>
            <ac:picMk id="4" creationId="{FCE43CE5-2785-46DD-8F61-6B883E176F83}"/>
          </ac:picMkLst>
        </pc:picChg>
      </pc:sldChg>
      <pc:sldChg chg="addSp delSp modSp add mod ord">
        <pc:chgData name="STEPANCHENKO, D. (Dmitrii)" userId="30c9d29d-ac41-46ff-b2be-c3f5dd1e26e1" providerId="ADAL" clId="{0D4D30D3-52F8-490C-8E8C-24DC58349B06}" dt="2022-12-22T13:14:00.894" v="4032" actId="478"/>
        <pc:sldMkLst>
          <pc:docMk/>
          <pc:sldMk cId="3089211194" sldId="2134806330"/>
        </pc:sldMkLst>
        <pc:spChg chg="mod">
          <ac:chgData name="STEPANCHENKO, D. (Dmitrii)" userId="30c9d29d-ac41-46ff-b2be-c3f5dd1e26e1" providerId="ADAL" clId="{0D4D30D3-52F8-490C-8E8C-24DC58349B06}" dt="2022-12-22T13:13:55.824" v="4031" actId="20577"/>
          <ac:spMkLst>
            <pc:docMk/>
            <pc:sldMk cId="3089211194" sldId="2134806330"/>
            <ac:spMk id="5" creationId="{81BD1123-3626-1C45-BF5B-1C1864FA8AFA}"/>
          </ac:spMkLst>
        </pc:spChg>
        <pc:spChg chg="add del mod">
          <ac:chgData name="STEPANCHENKO, D. (Dmitrii)" userId="30c9d29d-ac41-46ff-b2be-c3f5dd1e26e1" providerId="ADAL" clId="{0D4D30D3-52F8-490C-8E8C-24DC58349B06}" dt="2022-12-22T13:14:00.894" v="4032" actId="478"/>
          <ac:spMkLst>
            <pc:docMk/>
            <pc:sldMk cId="3089211194" sldId="2134806330"/>
            <ac:spMk id="15" creationId="{AEDD12B7-EF75-4635-9E48-3DA9BFBD6BB8}"/>
          </ac:spMkLst>
        </pc:spChg>
        <pc:spChg chg="del">
          <ac:chgData name="STEPANCHENKO, D. (Dmitrii)" userId="30c9d29d-ac41-46ff-b2be-c3f5dd1e26e1" providerId="ADAL" clId="{0D4D30D3-52F8-490C-8E8C-24DC58349B06}" dt="2022-12-22T13:14:00.894" v="4032" actId="478"/>
          <ac:spMkLst>
            <pc:docMk/>
            <pc:sldMk cId="3089211194" sldId="2134806330"/>
            <ac:spMk id="17" creationId="{BD69FFC3-98E2-981F-8355-D6A1F4013CC8}"/>
          </ac:spMkLst>
        </pc:spChg>
        <pc:spChg chg="del">
          <ac:chgData name="STEPANCHENKO, D. (Dmitrii)" userId="30c9d29d-ac41-46ff-b2be-c3f5dd1e26e1" providerId="ADAL" clId="{0D4D30D3-52F8-490C-8E8C-24DC58349B06}" dt="2022-12-22T12:42:28.808" v="3607" actId="478"/>
          <ac:spMkLst>
            <pc:docMk/>
            <pc:sldMk cId="3089211194" sldId="2134806330"/>
            <ac:spMk id="28" creationId="{680C9532-9059-68DF-88F9-42B190D45C92}"/>
          </ac:spMkLst>
        </pc:spChg>
        <pc:graphicFrameChg chg="del">
          <ac:chgData name="STEPANCHENKO, D. (Dmitrii)" userId="30c9d29d-ac41-46ff-b2be-c3f5dd1e26e1" providerId="ADAL" clId="{0D4D30D3-52F8-490C-8E8C-24DC58349B06}" dt="2022-12-22T12:42:28.808" v="3607" actId="478"/>
          <ac:graphicFrameMkLst>
            <pc:docMk/>
            <pc:sldMk cId="3089211194" sldId="2134806330"/>
            <ac:graphicFrameMk id="29" creationId="{D105480F-C095-4C97-9245-C3CB74424EC1}"/>
          </ac:graphicFrameMkLst>
        </pc:graphicFrameChg>
        <pc:picChg chg="add del mod">
          <ac:chgData name="STEPANCHENKO, D. (Dmitrii)" userId="30c9d29d-ac41-46ff-b2be-c3f5dd1e26e1" providerId="ADAL" clId="{0D4D30D3-52F8-490C-8E8C-24DC58349B06}" dt="2022-12-22T13:14:00.894" v="4032" actId="478"/>
          <ac:picMkLst>
            <pc:docMk/>
            <pc:sldMk cId="3089211194" sldId="2134806330"/>
            <ac:picMk id="4" creationId="{39109EAB-2ACB-4AC2-AA98-9595D9FA2C8D}"/>
          </ac:picMkLst>
        </pc:picChg>
        <pc:picChg chg="add del mod">
          <ac:chgData name="STEPANCHENKO, D. (Dmitrii)" userId="30c9d29d-ac41-46ff-b2be-c3f5dd1e26e1" providerId="ADAL" clId="{0D4D30D3-52F8-490C-8E8C-24DC58349B06}" dt="2022-12-22T12:44:48.015" v="3650" actId="478"/>
          <ac:picMkLst>
            <pc:docMk/>
            <pc:sldMk cId="3089211194" sldId="2134806330"/>
            <ac:picMk id="7" creationId="{7E473968-9248-4AAC-B185-175C0DEE9F63}"/>
          </ac:picMkLst>
        </pc:picChg>
        <pc:picChg chg="add del mod">
          <ac:chgData name="STEPANCHENKO, D. (Dmitrii)" userId="30c9d29d-ac41-46ff-b2be-c3f5dd1e26e1" providerId="ADAL" clId="{0D4D30D3-52F8-490C-8E8C-24DC58349B06}" dt="2022-12-22T12:46:54.387" v="3668" actId="478"/>
          <ac:picMkLst>
            <pc:docMk/>
            <pc:sldMk cId="3089211194" sldId="2134806330"/>
            <ac:picMk id="8" creationId="{1264D458-508B-4F86-A3FA-1CF6C406C5A9}"/>
          </ac:picMkLst>
        </pc:picChg>
        <pc:picChg chg="add del mod">
          <ac:chgData name="STEPANCHENKO, D. (Dmitrii)" userId="30c9d29d-ac41-46ff-b2be-c3f5dd1e26e1" providerId="ADAL" clId="{0D4D30D3-52F8-490C-8E8C-24DC58349B06}" dt="2022-12-22T12:46:56.283" v="3669" actId="478"/>
          <ac:picMkLst>
            <pc:docMk/>
            <pc:sldMk cId="3089211194" sldId="2134806330"/>
            <ac:picMk id="9" creationId="{B63965E4-7809-411A-A056-94F8D612204B}"/>
          </ac:picMkLst>
        </pc:picChg>
        <pc:picChg chg="add del mod">
          <ac:chgData name="STEPANCHENKO, D. (Dmitrii)" userId="30c9d29d-ac41-46ff-b2be-c3f5dd1e26e1" providerId="ADAL" clId="{0D4D30D3-52F8-490C-8E8C-24DC58349B06}" dt="2022-12-22T13:14:00.894" v="4032" actId="478"/>
          <ac:picMkLst>
            <pc:docMk/>
            <pc:sldMk cId="3089211194" sldId="2134806330"/>
            <ac:picMk id="10" creationId="{CC7C69E1-721E-4E62-ABFA-548AF492420D}"/>
          </ac:picMkLst>
        </pc:picChg>
      </pc:sldChg>
      <pc:sldChg chg="modSp add mod">
        <pc:chgData name="STEPANCHENKO, D. (Dmitrii)" userId="30c9d29d-ac41-46ff-b2be-c3f5dd1e26e1" providerId="ADAL" clId="{0D4D30D3-52F8-490C-8E8C-24DC58349B06}" dt="2022-12-22T12:58:31.559" v="3958" actId="20577"/>
        <pc:sldMkLst>
          <pc:docMk/>
          <pc:sldMk cId="4127393553" sldId="2134806331"/>
        </pc:sldMkLst>
        <pc:spChg chg="mod">
          <ac:chgData name="STEPANCHENKO, D. (Dmitrii)" userId="30c9d29d-ac41-46ff-b2be-c3f5dd1e26e1" providerId="ADAL" clId="{0D4D30D3-52F8-490C-8E8C-24DC58349B06}" dt="2022-12-22T12:58:31.559" v="3958" actId="20577"/>
          <ac:spMkLst>
            <pc:docMk/>
            <pc:sldMk cId="4127393553" sldId="2134806331"/>
            <ac:spMk id="2" creationId="{00000000-0000-0000-0000-000000000000}"/>
          </ac:spMkLst>
        </pc:spChg>
        <pc:spChg chg="mod">
          <ac:chgData name="STEPANCHENKO, D. (Dmitrii)" userId="30c9d29d-ac41-46ff-b2be-c3f5dd1e26e1" providerId="ADAL" clId="{0D4D30D3-52F8-490C-8E8C-24DC58349B06}" dt="2022-12-22T12:50:25.559" v="3712" actId="20577"/>
          <ac:spMkLst>
            <pc:docMk/>
            <pc:sldMk cId="4127393553" sldId="2134806331"/>
            <ac:spMk id="7" creationId="{00000000-0000-0000-0000-000000000000}"/>
          </ac:spMkLst>
        </pc:spChg>
      </pc:sldChg>
      <pc:sldChg chg="addSp delSp modSp add mod">
        <pc:chgData name="STEPANCHENKO, D. (Dmitrii)" userId="30c9d29d-ac41-46ff-b2be-c3f5dd1e26e1" providerId="ADAL" clId="{0D4D30D3-52F8-490C-8E8C-24DC58349B06}" dt="2022-12-23T10:47:58.908" v="4128"/>
        <pc:sldMkLst>
          <pc:docMk/>
          <pc:sldMk cId="962056861" sldId="2134806332"/>
        </pc:sldMkLst>
        <pc:spChg chg="del mod">
          <ac:chgData name="STEPANCHENKO, D. (Dmitrii)" userId="30c9d29d-ac41-46ff-b2be-c3f5dd1e26e1" providerId="ADAL" clId="{0D4D30D3-52F8-490C-8E8C-24DC58349B06}" dt="2022-12-23T10:43:45.895" v="4034" actId="478"/>
          <ac:spMkLst>
            <pc:docMk/>
            <pc:sldMk cId="962056861" sldId="2134806332"/>
            <ac:spMk id="5" creationId="{81BD1123-3626-1C45-BF5B-1C1864FA8AFA}"/>
          </ac:spMkLst>
        </pc:spChg>
        <pc:spChg chg="del mod">
          <ac:chgData name="STEPANCHENKO, D. (Dmitrii)" userId="30c9d29d-ac41-46ff-b2be-c3f5dd1e26e1" providerId="ADAL" clId="{0D4D30D3-52F8-490C-8E8C-24DC58349B06}" dt="2022-12-23T10:43:44.457" v="4033" actId="478"/>
          <ac:spMkLst>
            <pc:docMk/>
            <pc:sldMk cId="962056861" sldId="2134806332"/>
            <ac:spMk id="8" creationId="{5DECFFF7-4DDD-4DFE-AF09-04E3986FCD1F}"/>
          </ac:spMkLst>
        </pc:spChg>
        <pc:spChg chg="del">
          <ac:chgData name="STEPANCHENKO, D. (Dmitrii)" userId="30c9d29d-ac41-46ff-b2be-c3f5dd1e26e1" providerId="ADAL" clId="{0D4D30D3-52F8-490C-8E8C-24DC58349B06}" dt="2022-12-23T10:44:30.792" v="4037" actId="478"/>
          <ac:spMkLst>
            <pc:docMk/>
            <pc:sldMk cId="962056861" sldId="2134806332"/>
            <ac:spMk id="10" creationId="{52B6EE28-6B94-4077-8B54-07A0416DBEFA}"/>
          </ac:spMkLst>
        </pc:spChg>
        <pc:spChg chg="add del mod">
          <ac:chgData name="STEPANCHENKO, D. (Dmitrii)" userId="30c9d29d-ac41-46ff-b2be-c3f5dd1e26e1" providerId="ADAL" clId="{0D4D30D3-52F8-490C-8E8C-24DC58349B06}" dt="2022-12-23T10:47:54.106" v="4127" actId="478"/>
          <ac:spMkLst>
            <pc:docMk/>
            <pc:sldMk cId="962056861" sldId="2134806332"/>
            <ac:spMk id="11" creationId="{BB09950D-C344-43B8-8019-0E0EE3D809D4}"/>
          </ac:spMkLst>
        </pc:spChg>
        <pc:spChg chg="add mod">
          <ac:chgData name="STEPANCHENKO, D. (Dmitrii)" userId="30c9d29d-ac41-46ff-b2be-c3f5dd1e26e1" providerId="ADAL" clId="{0D4D30D3-52F8-490C-8E8C-24DC58349B06}" dt="2022-12-23T10:47:58.908" v="4128"/>
          <ac:spMkLst>
            <pc:docMk/>
            <pc:sldMk cId="962056861" sldId="2134806332"/>
            <ac:spMk id="12" creationId="{9B3FF94C-B48C-4D1A-B38D-47E676254B88}"/>
          </ac:spMkLst>
        </pc:spChg>
        <pc:picChg chg="add del mod">
          <ac:chgData name="STEPANCHENKO, D. (Dmitrii)" userId="30c9d29d-ac41-46ff-b2be-c3f5dd1e26e1" providerId="ADAL" clId="{0D4D30D3-52F8-490C-8E8C-24DC58349B06}" dt="2022-12-23T10:45:02.776" v="4066" actId="478"/>
          <ac:picMkLst>
            <pc:docMk/>
            <pc:sldMk cId="962056861" sldId="2134806332"/>
            <ac:picMk id="4" creationId="{2B940A62-2EE7-4206-B5E2-8982646A6448}"/>
          </ac:picMkLst>
        </pc:picChg>
        <pc:picChg chg="add mod">
          <ac:chgData name="STEPANCHENKO, D. (Dmitrii)" userId="30c9d29d-ac41-46ff-b2be-c3f5dd1e26e1" providerId="ADAL" clId="{0D4D30D3-52F8-490C-8E8C-24DC58349B06}" dt="2022-12-23T10:45:16.157" v="4068" actId="1076"/>
          <ac:picMkLst>
            <pc:docMk/>
            <pc:sldMk cId="962056861" sldId="2134806332"/>
            <ac:picMk id="7" creationId="{20299033-72A7-4916-923F-7D116B1D796D}"/>
          </ac:picMkLst>
        </pc:picChg>
      </pc:sldChg>
      <pc:sldChg chg="modSp add mod ord">
        <pc:chgData name="STEPANCHENKO, D. (Dmitrii)" userId="30c9d29d-ac41-46ff-b2be-c3f5dd1e26e1" providerId="ADAL" clId="{0D4D30D3-52F8-490C-8E8C-24DC58349B06}" dt="2022-12-31T10:21:34.474" v="7988" actId="20577"/>
        <pc:sldMkLst>
          <pc:docMk/>
          <pc:sldMk cId="3444687285" sldId="2134806333"/>
        </pc:sldMkLst>
        <pc:spChg chg="mod">
          <ac:chgData name="STEPANCHENKO, D. (Dmitrii)" userId="30c9d29d-ac41-46ff-b2be-c3f5dd1e26e1" providerId="ADAL" clId="{0D4D30D3-52F8-490C-8E8C-24DC58349B06}" dt="2022-12-31T10:21:34.474" v="7988" actId="20577"/>
          <ac:spMkLst>
            <pc:docMk/>
            <pc:sldMk cId="3444687285" sldId="2134806333"/>
            <ac:spMk id="5" creationId="{81BD1123-3626-1C45-BF5B-1C1864FA8AFA}"/>
          </ac:spMkLst>
        </pc:spChg>
      </pc:sldChg>
      <pc:sldChg chg="addSp delSp modSp add mod ord">
        <pc:chgData name="STEPANCHENKO, D. (Dmitrii)" userId="30c9d29d-ac41-46ff-b2be-c3f5dd1e26e1" providerId="ADAL" clId="{0D4D30D3-52F8-490C-8E8C-24DC58349B06}" dt="2022-12-23T13:57:13.347" v="7138" actId="20577"/>
        <pc:sldMkLst>
          <pc:docMk/>
          <pc:sldMk cId="3608721573" sldId="2134806334"/>
        </pc:sldMkLst>
        <pc:spChg chg="add del mod">
          <ac:chgData name="STEPANCHENKO, D. (Dmitrii)" userId="30c9d29d-ac41-46ff-b2be-c3f5dd1e26e1" providerId="ADAL" clId="{0D4D30D3-52F8-490C-8E8C-24DC58349B06}" dt="2022-12-23T12:56:07.649" v="4657" actId="478"/>
          <ac:spMkLst>
            <pc:docMk/>
            <pc:sldMk cId="3608721573" sldId="2134806334"/>
            <ac:spMk id="3" creationId="{C6A9DD77-3FE6-4E75-8D99-E97A9B82E591}"/>
          </ac:spMkLst>
        </pc:spChg>
        <pc:spChg chg="mod">
          <ac:chgData name="STEPANCHENKO, D. (Dmitrii)" userId="30c9d29d-ac41-46ff-b2be-c3f5dd1e26e1" providerId="ADAL" clId="{0D4D30D3-52F8-490C-8E8C-24DC58349B06}" dt="2022-12-23T12:55:45.518" v="4645" actId="20577"/>
          <ac:spMkLst>
            <pc:docMk/>
            <pc:sldMk cId="3608721573" sldId="2134806334"/>
            <ac:spMk id="5" creationId="{81BD1123-3626-1C45-BF5B-1C1864FA8AFA}"/>
          </ac:spMkLst>
        </pc:spChg>
        <pc:spChg chg="del">
          <ac:chgData name="STEPANCHENKO, D. (Dmitrii)" userId="30c9d29d-ac41-46ff-b2be-c3f5dd1e26e1" providerId="ADAL" clId="{0D4D30D3-52F8-490C-8E8C-24DC58349B06}" dt="2022-12-23T12:55:26.120" v="4619" actId="478"/>
          <ac:spMkLst>
            <pc:docMk/>
            <pc:sldMk cId="3608721573" sldId="2134806334"/>
            <ac:spMk id="8" creationId="{5DECFFF7-4DDD-4DFE-AF09-04E3986FCD1F}"/>
          </ac:spMkLst>
        </pc:spChg>
        <pc:spChg chg="del">
          <ac:chgData name="STEPANCHENKO, D. (Dmitrii)" userId="30c9d29d-ac41-46ff-b2be-c3f5dd1e26e1" providerId="ADAL" clId="{0D4D30D3-52F8-490C-8E8C-24DC58349B06}" dt="2022-12-23T12:55:28.808" v="4620" actId="478"/>
          <ac:spMkLst>
            <pc:docMk/>
            <pc:sldMk cId="3608721573" sldId="2134806334"/>
            <ac:spMk id="10" creationId="{52B6EE28-6B94-4077-8B54-07A0416DBEFA}"/>
          </ac:spMkLst>
        </pc:spChg>
        <pc:spChg chg="add mod">
          <ac:chgData name="STEPANCHENKO, D. (Dmitrii)" userId="30c9d29d-ac41-46ff-b2be-c3f5dd1e26e1" providerId="ADAL" clId="{0D4D30D3-52F8-490C-8E8C-24DC58349B06}" dt="2022-12-23T13:43:53.606" v="6430" actId="20577"/>
          <ac:spMkLst>
            <pc:docMk/>
            <pc:sldMk cId="3608721573" sldId="2134806334"/>
            <ac:spMk id="12" creationId="{0752E6A3-4425-48A0-9570-33BE5F54B45C}"/>
          </ac:spMkLst>
        </pc:spChg>
        <pc:spChg chg="add mod">
          <ac:chgData name="STEPANCHENKO, D. (Dmitrii)" userId="30c9d29d-ac41-46ff-b2be-c3f5dd1e26e1" providerId="ADAL" clId="{0D4D30D3-52F8-490C-8E8C-24DC58349B06}" dt="2022-12-23T13:56:58.610" v="7135" actId="20577"/>
          <ac:spMkLst>
            <pc:docMk/>
            <pc:sldMk cId="3608721573" sldId="2134806334"/>
            <ac:spMk id="13" creationId="{9AD3A892-2754-4EB3-A4DA-CB0772BFAF88}"/>
          </ac:spMkLst>
        </pc:spChg>
        <pc:spChg chg="add mod">
          <ac:chgData name="STEPANCHENKO, D. (Dmitrii)" userId="30c9d29d-ac41-46ff-b2be-c3f5dd1e26e1" providerId="ADAL" clId="{0D4D30D3-52F8-490C-8E8C-24DC58349B06}" dt="2022-12-23T13:57:13.347" v="7138" actId="20577"/>
          <ac:spMkLst>
            <pc:docMk/>
            <pc:sldMk cId="3608721573" sldId="2134806334"/>
            <ac:spMk id="14" creationId="{8774A0F6-E177-49B2-90C1-41ECDC52A906}"/>
          </ac:spMkLst>
        </pc:spChg>
        <pc:graphicFrameChg chg="add del mod modGraphic">
          <ac:chgData name="STEPANCHENKO, D. (Dmitrii)" userId="30c9d29d-ac41-46ff-b2be-c3f5dd1e26e1" providerId="ADAL" clId="{0D4D30D3-52F8-490C-8E8C-24DC58349B06}" dt="2022-12-23T13:01:22.516" v="4662" actId="478"/>
          <ac:graphicFrameMkLst>
            <pc:docMk/>
            <pc:sldMk cId="3608721573" sldId="2134806334"/>
            <ac:graphicFrameMk id="4" creationId="{CE415FA7-BB8E-46E7-9DE7-924FF3DF3C2B}"/>
          </ac:graphicFrameMkLst>
        </pc:graphicFrameChg>
        <pc:graphicFrameChg chg="add mod modGraphic">
          <ac:chgData name="STEPANCHENKO, D. (Dmitrii)" userId="30c9d29d-ac41-46ff-b2be-c3f5dd1e26e1" providerId="ADAL" clId="{0D4D30D3-52F8-490C-8E8C-24DC58349B06}" dt="2022-12-23T13:19:04.427" v="5443" actId="20577"/>
          <ac:graphicFrameMkLst>
            <pc:docMk/>
            <pc:sldMk cId="3608721573" sldId="2134806334"/>
            <ac:graphicFrameMk id="6" creationId="{13ED6E41-6289-460B-BAE9-304E921B4555}"/>
          </ac:graphicFrameMkLst>
        </pc:graphicFrameChg>
        <pc:cxnChg chg="add mod">
          <ac:chgData name="STEPANCHENKO, D. (Dmitrii)" userId="30c9d29d-ac41-46ff-b2be-c3f5dd1e26e1" providerId="ADAL" clId="{0D4D30D3-52F8-490C-8E8C-24DC58349B06}" dt="2022-12-23T13:12:22.258" v="4877" actId="1036"/>
          <ac:cxnSpMkLst>
            <pc:docMk/>
            <pc:sldMk cId="3608721573" sldId="2134806334"/>
            <ac:cxnSpMk id="9" creationId="{B0A39E29-580B-410B-94A4-8966AC40A585}"/>
          </ac:cxnSpMkLst>
        </pc:cxnChg>
        <pc:cxnChg chg="add mod">
          <ac:chgData name="STEPANCHENKO, D. (Dmitrii)" userId="30c9d29d-ac41-46ff-b2be-c3f5dd1e26e1" providerId="ADAL" clId="{0D4D30D3-52F8-490C-8E8C-24DC58349B06}" dt="2022-12-23T13:12:17.808" v="4860" actId="1036"/>
          <ac:cxnSpMkLst>
            <pc:docMk/>
            <pc:sldMk cId="3608721573" sldId="2134806334"/>
            <ac:cxnSpMk id="11" creationId="{E502FB7F-08B3-473F-9827-C88F050F5A53}"/>
          </ac:cxnSpMkLst>
        </pc:cxnChg>
      </pc:sldChg>
      <pc:sldChg chg="addSp delSp modSp add mod">
        <pc:chgData name="STEPANCHENKO, D. (Dmitrii)" userId="30c9d29d-ac41-46ff-b2be-c3f5dd1e26e1" providerId="ADAL" clId="{0D4D30D3-52F8-490C-8E8C-24DC58349B06}" dt="2022-12-23T14:30:34.667" v="7162" actId="14100"/>
        <pc:sldMkLst>
          <pc:docMk/>
          <pc:sldMk cId="3429197109" sldId="2134806335"/>
        </pc:sldMkLst>
        <pc:spChg chg="mod">
          <ac:chgData name="STEPANCHENKO, D. (Dmitrii)" userId="30c9d29d-ac41-46ff-b2be-c3f5dd1e26e1" providerId="ADAL" clId="{0D4D30D3-52F8-490C-8E8C-24DC58349B06}" dt="2022-12-23T13:41:37.668" v="6398" actId="20577"/>
          <ac:spMkLst>
            <pc:docMk/>
            <pc:sldMk cId="3429197109" sldId="2134806335"/>
            <ac:spMk id="5" creationId="{81BD1123-3626-1C45-BF5B-1C1864FA8AFA}"/>
          </ac:spMkLst>
        </pc:spChg>
        <pc:spChg chg="del">
          <ac:chgData name="STEPANCHENKO, D. (Dmitrii)" userId="30c9d29d-ac41-46ff-b2be-c3f5dd1e26e1" providerId="ADAL" clId="{0D4D30D3-52F8-490C-8E8C-24DC58349B06}" dt="2022-12-23T13:41:39.424" v="6399" actId="478"/>
          <ac:spMkLst>
            <pc:docMk/>
            <pc:sldMk cId="3429197109" sldId="2134806335"/>
            <ac:spMk id="8" creationId="{5DECFFF7-4DDD-4DFE-AF09-04E3986FCD1F}"/>
          </ac:spMkLst>
        </pc:spChg>
        <pc:spChg chg="del">
          <ac:chgData name="STEPANCHENKO, D. (Dmitrii)" userId="30c9d29d-ac41-46ff-b2be-c3f5dd1e26e1" providerId="ADAL" clId="{0D4D30D3-52F8-490C-8E8C-24DC58349B06}" dt="2022-12-23T13:41:45.208" v="6400" actId="478"/>
          <ac:spMkLst>
            <pc:docMk/>
            <pc:sldMk cId="3429197109" sldId="2134806335"/>
            <ac:spMk id="10" creationId="{52B6EE28-6B94-4077-8B54-07A0416DBEFA}"/>
          </ac:spMkLst>
        </pc:spChg>
        <pc:graphicFrameChg chg="add mod modGraphic">
          <ac:chgData name="STEPANCHENKO, D. (Dmitrii)" userId="30c9d29d-ac41-46ff-b2be-c3f5dd1e26e1" providerId="ADAL" clId="{0D4D30D3-52F8-490C-8E8C-24DC58349B06}" dt="2022-12-23T14:30:34.667" v="7162" actId="14100"/>
          <ac:graphicFrameMkLst>
            <pc:docMk/>
            <pc:sldMk cId="3429197109" sldId="2134806335"/>
            <ac:graphicFrameMk id="3" creationId="{3FB1392B-9DAC-40D6-AF12-16AF88B26518}"/>
          </ac:graphicFrameMkLst>
        </pc:graphicFrameChg>
      </pc:sldChg>
      <pc:sldChg chg="addSp delSp modSp add mod ord">
        <pc:chgData name="STEPANCHENKO, D. (Dmitrii)" userId="30c9d29d-ac41-46ff-b2be-c3f5dd1e26e1" providerId="ADAL" clId="{0D4D30D3-52F8-490C-8E8C-24DC58349B06}" dt="2022-12-31T10:26:11.500" v="8061" actId="20577"/>
        <pc:sldMkLst>
          <pc:docMk/>
          <pc:sldMk cId="1608794076" sldId="2134806336"/>
        </pc:sldMkLst>
        <pc:spChg chg="mod">
          <ac:chgData name="STEPANCHENKO, D. (Dmitrii)" userId="30c9d29d-ac41-46ff-b2be-c3f5dd1e26e1" providerId="ADAL" clId="{0D4D30D3-52F8-490C-8E8C-24DC58349B06}" dt="2022-12-23T13:58:34.029" v="7149"/>
          <ac:spMkLst>
            <pc:docMk/>
            <pc:sldMk cId="1608794076" sldId="2134806336"/>
            <ac:spMk id="5" creationId="{81BD1123-3626-1C45-BF5B-1C1864FA8AFA}"/>
          </ac:spMkLst>
        </pc:spChg>
        <pc:spChg chg="add mod">
          <ac:chgData name="STEPANCHENKO, D. (Dmitrii)" userId="30c9d29d-ac41-46ff-b2be-c3f5dd1e26e1" providerId="ADAL" clId="{0D4D30D3-52F8-490C-8E8C-24DC58349B06}" dt="2022-12-31T10:26:11.500" v="8061" actId="20577"/>
          <ac:spMkLst>
            <pc:docMk/>
            <pc:sldMk cId="1608794076" sldId="2134806336"/>
            <ac:spMk id="7" creationId="{123EC169-7644-486C-8036-F709D2DAEAF0}"/>
          </ac:spMkLst>
        </pc:spChg>
        <pc:spChg chg="del">
          <ac:chgData name="STEPANCHENKO, D. (Dmitrii)" userId="30c9d29d-ac41-46ff-b2be-c3f5dd1e26e1" providerId="ADAL" clId="{0D4D30D3-52F8-490C-8E8C-24DC58349B06}" dt="2022-12-23T13:59:32.477" v="7159" actId="478"/>
          <ac:spMkLst>
            <pc:docMk/>
            <pc:sldMk cId="1608794076" sldId="2134806336"/>
            <ac:spMk id="8" creationId="{5DECFFF7-4DDD-4DFE-AF09-04E3986FCD1F}"/>
          </ac:spMkLst>
        </pc:spChg>
        <pc:graphicFrameChg chg="add mod modGraphic">
          <ac:chgData name="STEPANCHENKO, D. (Dmitrii)" userId="30c9d29d-ac41-46ff-b2be-c3f5dd1e26e1" providerId="ADAL" clId="{0D4D30D3-52F8-490C-8E8C-24DC58349B06}" dt="2022-12-31T10:25:45.206" v="8058" actId="2161"/>
          <ac:graphicFrameMkLst>
            <pc:docMk/>
            <pc:sldMk cId="1608794076" sldId="2134806336"/>
            <ac:graphicFrameMk id="3" creationId="{14F17274-164C-418B-B125-D92ACA77A98E}"/>
          </ac:graphicFrameMkLst>
        </pc:graphicFrameChg>
      </pc:sldChg>
      <pc:sldChg chg="modSp add mod">
        <pc:chgData name="STEPANCHENKO, D. (Dmitrii)" userId="30c9d29d-ac41-46ff-b2be-c3f5dd1e26e1" providerId="ADAL" clId="{0D4D30D3-52F8-490C-8E8C-24DC58349B06}" dt="2022-12-27T17:20:26.566" v="7168" actId="20577"/>
        <pc:sldMkLst>
          <pc:docMk/>
          <pc:sldMk cId="3231236423" sldId="2134806337"/>
        </pc:sldMkLst>
        <pc:spChg chg="mod">
          <ac:chgData name="STEPANCHENKO, D. (Dmitrii)" userId="30c9d29d-ac41-46ff-b2be-c3f5dd1e26e1" providerId="ADAL" clId="{0D4D30D3-52F8-490C-8E8C-24DC58349B06}" dt="2022-12-27T17:20:26.566" v="7168" actId="20577"/>
          <ac:spMkLst>
            <pc:docMk/>
            <pc:sldMk cId="3231236423" sldId="2134806337"/>
            <ac:spMk id="5" creationId="{81BD1123-3626-1C45-BF5B-1C1864FA8AFA}"/>
          </ac:spMkLst>
        </pc:spChg>
      </pc:sldChg>
      <pc:sldChg chg="addSp delSp modSp add mod">
        <pc:chgData name="STEPANCHENKO, D. (Dmitrii)" userId="30c9d29d-ac41-46ff-b2be-c3f5dd1e26e1" providerId="ADAL" clId="{0D4D30D3-52F8-490C-8E8C-24DC58349B06}" dt="2022-12-23T10:47:48.199" v="4126" actId="1038"/>
        <pc:sldMkLst>
          <pc:docMk/>
          <pc:sldMk cId="1628329711" sldId="2134806338"/>
        </pc:sldMkLst>
        <pc:spChg chg="mod">
          <ac:chgData name="STEPANCHENKO, D. (Dmitrii)" userId="30c9d29d-ac41-46ff-b2be-c3f5dd1e26e1" providerId="ADAL" clId="{0D4D30D3-52F8-490C-8E8C-24DC58349B06}" dt="2022-12-23T10:47:48.199" v="4126" actId="1038"/>
          <ac:spMkLst>
            <pc:docMk/>
            <pc:sldMk cId="1628329711" sldId="2134806338"/>
            <ac:spMk id="11" creationId="{BB09950D-C344-43B8-8019-0E0EE3D809D4}"/>
          </ac:spMkLst>
        </pc:spChg>
        <pc:picChg chg="add mod">
          <ac:chgData name="STEPANCHENKO, D. (Dmitrii)" userId="30c9d29d-ac41-46ff-b2be-c3f5dd1e26e1" providerId="ADAL" clId="{0D4D30D3-52F8-490C-8E8C-24DC58349B06}" dt="2022-12-23T10:47:33.411" v="4100" actId="1076"/>
          <ac:picMkLst>
            <pc:docMk/>
            <pc:sldMk cId="1628329711" sldId="2134806338"/>
            <ac:picMk id="4" creationId="{C2F50882-97E8-4B30-A6E4-10FBB13CD314}"/>
          </ac:picMkLst>
        </pc:picChg>
        <pc:picChg chg="del">
          <ac:chgData name="STEPANCHENKO, D. (Dmitrii)" userId="30c9d29d-ac41-46ff-b2be-c3f5dd1e26e1" providerId="ADAL" clId="{0D4D30D3-52F8-490C-8E8C-24DC58349B06}" dt="2022-12-23T10:46:34.345" v="4098" actId="478"/>
          <ac:picMkLst>
            <pc:docMk/>
            <pc:sldMk cId="1628329711" sldId="2134806338"/>
            <ac:picMk id="7" creationId="{20299033-72A7-4916-923F-7D116B1D796D}"/>
          </ac:picMkLst>
        </pc:picChg>
      </pc:sldChg>
      <pc:sldChg chg="addSp delSp modSp add mod ord">
        <pc:chgData name="STEPANCHENKO, D. (Dmitrii)" userId="30c9d29d-ac41-46ff-b2be-c3f5dd1e26e1" providerId="ADAL" clId="{0D4D30D3-52F8-490C-8E8C-24DC58349B06}" dt="2022-12-23T11:04:17.061" v="4186"/>
        <pc:sldMkLst>
          <pc:docMk/>
          <pc:sldMk cId="1551122493" sldId="2134806339"/>
        </pc:sldMkLst>
        <pc:picChg chg="del">
          <ac:chgData name="STEPANCHENKO, D. (Dmitrii)" userId="30c9d29d-ac41-46ff-b2be-c3f5dd1e26e1" providerId="ADAL" clId="{0D4D30D3-52F8-490C-8E8C-24DC58349B06}" dt="2022-12-23T11:01:40.700" v="4131" actId="478"/>
          <ac:picMkLst>
            <pc:docMk/>
            <pc:sldMk cId="1551122493" sldId="2134806339"/>
            <ac:picMk id="4" creationId="{C2F50882-97E8-4B30-A6E4-10FBB13CD314}"/>
          </ac:picMkLst>
        </pc:picChg>
        <pc:picChg chg="add mod">
          <ac:chgData name="STEPANCHENKO, D. (Dmitrii)" userId="30c9d29d-ac41-46ff-b2be-c3f5dd1e26e1" providerId="ADAL" clId="{0D4D30D3-52F8-490C-8E8C-24DC58349B06}" dt="2022-12-23T11:02:58.065" v="4170" actId="14100"/>
          <ac:picMkLst>
            <pc:docMk/>
            <pc:sldMk cId="1551122493" sldId="2134806339"/>
            <ac:picMk id="5" creationId="{1F0E5A33-280B-4600-A09F-47F03165EB83}"/>
          </ac:picMkLst>
        </pc:picChg>
      </pc:sldChg>
      <pc:sldChg chg="addSp delSp modSp add del mod ord">
        <pc:chgData name="STEPANCHENKO, D. (Dmitrii)" userId="30c9d29d-ac41-46ff-b2be-c3f5dd1e26e1" providerId="ADAL" clId="{0D4D30D3-52F8-490C-8E8C-24DC58349B06}" dt="2022-12-23T11:10:57.238" v="4268" actId="47"/>
        <pc:sldMkLst>
          <pc:docMk/>
          <pc:sldMk cId="3161876117" sldId="2134806340"/>
        </pc:sldMkLst>
        <pc:picChg chg="del">
          <ac:chgData name="STEPANCHENKO, D. (Dmitrii)" userId="30c9d29d-ac41-46ff-b2be-c3f5dd1e26e1" providerId="ADAL" clId="{0D4D30D3-52F8-490C-8E8C-24DC58349B06}" dt="2022-12-23T11:01:42.737" v="4132" actId="478"/>
          <ac:picMkLst>
            <pc:docMk/>
            <pc:sldMk cId="3161876117" sldId="2134806340"/>
            <ac:picMk id="4" creationId="{C2F50882-97E8-4B30-A6E4-10FBB13CD314}"/>
          </ac:picMkLst>
        </pc:picChg>
        <pc:picChg chg="add mod">
          <ac:chgData name="STEPANCHENKO, D. (Dmitrii)" userId="30c9d29d-ac41-46ff-b2be-c3f5dd1e26e1" providerId="ADAL" clId="{0D4D30D3-52F8-490C-8E8C-24DC58349B06}" dt="2022-12-23T11:02:21.935" v="4167" actId="1036"/>
          <ac:picMkLst>
            <pc:docMk/>
            <pc:sldMk cId="3161876117" sldId="2134806340"/>
            <ac:picMk id="5" creationId="{1D09C45E-8407-4091-8884-A2626C8EFDE4}"/>
          </ac:picMkLst>
        </pc:picChg>
      </pc:sldChg>
      <pc:sldChg chg="add del">
        <pc:chgData name="STEPANCHENKO, D. (Dmitrii)" userId="30c9d29d-ac41-46ff-b2be-c3f5dd1e26e1" providerId="ADAL" clId="{0D4D30D3-52F8-490C-8E8C-24DC58349B06}" dt="2022-12-23T11:01:50.635" v="4134"/>
        <pc:sldMkLst>
          <pc:docMk/>
          <pc:sldMk cId="2237007134" sldId="2134806341"/>
        </pc:sldMkLst>
      </pc:sldChg>
      <pc:sldChg chg="addSp delSp modSp add mod">
        <pc:chgData name="STEPANCHENKO, D. (Dmitrii)" userId="30c9d29d-ac41-46ff-b2be-c3f5dd1e26e1" providerId="ADAL" clId="{0D4D30D3-52F8-490C-8E8C-24DC58349B06}" dt="2022-12-23T11:05:52.859" v="4215" actId="1036"/>
        <pc:sldMkLst>
          <pc:docMk/>
          <pc:sldMk cId="4055161192" sldId="2134806341"/>
        </pc:sldMkLst>
        <pc:picChg chg="del">
          <ac:chgData name="STEPANCHENKO, D. (Dmitrii)" userId="30c9d29d-ac41-46ff-b2be-c3f5dd1e26e1" providerId="ADAL" clId="{0D4D30D3-52F8-490C-8E8C-24DC58349B06}" dt="2022-12-23T11:03:42.939" v="4174" actId="478"/>
          <ac:picMkLst>
            <pc:docMk/>
            <pc:sldMk cId="4055161192" sldId="2134806341"/>
            <ac:picMk id="4" creationId="{C2F50882-97E8-4B30-A6E4-10FBB13CD314}"/>
          </ac:picMkLst>
        </pc:picChg>
        <pc:picChg chg="add mod">
          <ac:chgData name="STEPANCHENKO, D. (Dmitrii)" userId="30c9d29d-ac41-46ff-b2be-c3f5dd1e26e1" providerId="ADAL" clId="{0D4D30D3-52F8-490C-8E8C-24DC58349B06}" dt="2022-12-23T11:05:52.859" v="4215" actId="1036"/>
          <ac:picMkLst>
            <pc:docMk/>
            <pc:sldMk cId="4055161192" sldId="2134806341"/>
            <ac:picMk id="5" creationId="{8786B4DB-54D0-49D4-A975-EC0ECEA390B3}"/>
          </ac:picMkLst>
        </pc:picChg>
      </pc:sldChg>
      <pc:sldChg chg="addSp modSp add mod ord">
        <pc:chgData name="STEPANCHENKO, D. (Dmitrii)" userId="30c9d29d-ac41-46ff-b2be-c3f5dd1e26e1" providerId="ADAL" clId="{0D4D30D3-52F8-490C-8E8C-24DC58349B06}" dt="2022-12-23T11:06:50.457" v="4241" actId="20577"/>
        <pc:sldMkLst>
          <pc:docMk/>
          <pc:sldMk cId="2501858576" sldId="2134806342"/>
        </pc:sldMkLst>
        <pc:spChg chg="add mod">
          <ac:chgData name="STEPANCHENKO, D. (Dmitrii)" userId="30c9d29d-ac41-46ff-b2be-c3f5dd1e26e1" providerId="ADAL" clId="{0D4D30D3-52F8-490C-8E8C-24DC58349B06}" dt="2022-12-23T11:06:50.457" v="4241" actId="20577"/>
          <ac:spMkLst>
            <pc:docMk/>
            <pc:sldMk cId="2501858576" sldId="2134806342"/>
            <ac:spMk id="8" creationId="{9E99B46D-E916-43A6-BC68-8132CE54B575}"/>
          </ac:spMkLst>
        </pc:spChg>
        <pc:spChg chg="mod">
          <ac:chgData name="STEPANCHENKO, D. (Dmitrii)" userId="30c9d29d-ac41-46ff-b2be-c3f5dd1e26e1" providerId="ADAL" clId="{0D4D30D3-52F8-490C-8E8C-24DC58349B06}" dt="2022-12-23T11:06:36.735" v="4220" actId="14100"/>
          <ac:spMkLst>
            <pc:docMk/>
            <pc:sldMk cId="2501858576" sldId="2134806342"/>
            <ac:spMk id="11" creationId="{BB09950D-C344-43B8-8019-0E0EE3D809D4}"/>
          </ac:spMkLst>
        </pc:spChg>
        <pc:picChg chg="add mod">
          <ac:chgData name="STEPANCHENKO, D. (Dmitrii)" userId="30c9d29d-ac41-46ff-b2be-c3f5dd1e26e1" providerId="ADAL" clId="{0D4D30D3-52F8-490C-8E8C-24DC58349B06}" dt="2022-12-23T11:06:18.696" v="4217" actId="1076"/>
          <ac:picMkLst>
            <pc:docMk/>
            <pc:sldMk cId="2501858576" sldId="2134806342"/>
            <ac:picMk id="4" creationId="{01143419-EC07-4A19-A081-09A719F214FC}"/>
          </ac:picMkLst>
        </pc:picChg>
        <pc:picChg chg="add mod">
          <ac:chgData name="STEPANCHENKO, D. (Dmitrii)" userId="30c9d29d-ac41-46ff-b2be-c3f5dd1e26e1" providerId="ADAL" clId="{0D4D30D3-52F8-490C-8E8C-24DC58349B06}" dt="2022-12-23T11:06:34.342" v="4219" actId="1076"/>
          <ac:picMkLst>
            <pc:docMk/>
            <pc:sldMk cId="2501858576" sldId="2134806342"/>
            <ac:picMk id="6" creationId="{C58F600E-E0CD-44B0-A740-4CAACCDD11E6}"/>
          </ac:picMkLst>
        </pc:picChg>
      </pc:sldChg>
      <pc:sldChg chg="add del">
        <pc:chgData name="STEPANCHENKO, D. (Dmitrii)" userId="30c9d29d-ac41-46ff-b2be-c3f5dd1e26e1" providerId="ADAL" clId="{0D4D30D3-52F8-490C-8E8C-24DC58349B06}" dt="2022-12-23T11:03:43.928" v="4176"/>
        <pc:sldMkLst>
          <pc:docMk/>
          <pc:sldMk cId="4275971901" sldId="2134806342"/>
        </pc:sldMkLst>
      </pc:sldChg>
      <pc:sldChg chg="addSp delSp modSp add mod ord">
        <pc:chgData name="STEPANCHENKO, D. (Dmitrii)" userId="30c9d29d-ac41-46ff-b2be-c3f5dd1e26e1" providerId="ADAL" clId="{0D4D30D3-52F8-490C-8E8C-24DC58349B06}" dt="2022-12-23T11:05:48.455" v="4210" actId="1036"/>
        <pc:sldMkLst>
          <pc:docMk/>
          <pc:sldMk cId="1681204507" sldId="2134806343"/>
        </pc:sldMkLst>
        <pc:spChg chg="mod">
          <ac:chgData name="STEPANCHENKO, D. (Dmitrii)" userId="30c9d29d-ac41-46ff-b2be-c3f5dd1e26e1" providerId="ADAL" clId="{0D4D30D3-52F8-490C-8E8C-24DC58349B06}" dt="2022-12-23T11:04:10.552" v="4182" actId="1076"/>
          <ac:spMkLst>
            <pc:docMk/>
            <pc:sldMk cId="1681204507" sldId="2134806343"/>
            <ac:spMk id="11" creationId="{BB09950D-C344-43B8-8019-0E0EE3D809D4}"/>
          </ac:spMkLst>
        </pc:spChg>
        <pc:picChg chg="add mod">
          <ac:chgData name="STEPANCHENKO, D. (Dmitrii)" userId="30c9d29d-ac41-46ff-b2be-c3f5dd1e26e1" providerId="ADAL" clId="{0D4D30D3-52F8-490C-8E8C-24DC58349B06}" dt="2022-12-23T11:05:48.455" v="4210" actId="1036"/>
          <ac:picMkLst>
            <pc:docMk/>
            <pc:sldMk cId="1681204507" sldId="2134806343"/>
            <ac:picMk id="4" creationId="{D63EE18E-3834-42F2-BD40-08BA16AA6383}"/>
          </ac:picMkLst>
        </pc:picChg>
        <pc:picChg chg="add del mod">
          <ac:chgData name="STEPANCHENKO, D. (Dmitrii)" userId="30c9d29d-ac41-46ff-b2be-c3f5dd1e26e1" providerId="ADAL" clId="{0D4D30D3-52F8-490C-8E8C-24DC58349B06}" dt="2022-12-23T11:05:05.099" v="4197" actId="21"/>
          <ac:picMkLst>
            <pc:docMk/>
            <pc:sldMk cId="1681204507" sldId="2134806343"/>
            <ac:picMk id="6" creationId="{F1EB221D-CA7A-49A1-B4CB-00AB653CEE64}"/>
          </ac:picMkLst>
        </pc:picChg>
      </pc:sldChg>
      <pc:sldChg chg="addSp modSp add mod">
        <pc:chgData name="STEPANCHENKO, D. (Dmitrii)" userId="30c9d29d-ac41-46ff-b2be-c3f5dd1e26e1" providerId="ADAL" clId="{0D4D30D3-52F8-490C-8E8C-24DC58349B06}" dt="2022-12-23T11:07:44.954" v="4244" actId="14100"/>
        <pc:sldMkLst>
          <pc:docMk/>
          <pc:sldMk cId="3094043980" sldId="2134806344"/>
        </pc:sldMkLst>
        <pc:picChg chg="add mod">
          <ac:chgData name="STEPANCHENKO, D. (Dmitrii)" userId="30c9d29d-ac41-46ff-b2be-c3f5dd1e26e1" providerId="ADAL" clId="{0D4D30D3-52F8-490C-8E8C-24DC58349B06}" dt="2022-12-23T11:07:44.954" v="4244" actId="14100"/>
          <ac:picMkLst>
            <pc:docMk/>
            <pc:sldMk cId="3094043980" sldId="2134806344"/>
            <ac:picMk id="4" creationId="{75934AAE-4E2F-404E-8D00-83E1D3A6AE93}"/>
          </ac:picMkLst>
        </pc:picChg>
      </pc:sldChg>
      <pc:sldChg chg="addSp modSp add mod">
        <pc:chgData name="STEPANCHENKO, D. (Dmitrii)" userId="30c9d29d-ac41-46ff-b2be-c3f5dd1e26e1" providerId="ADAL" clId="{0D4D30D3-52F8-490C-8E8C-24DC58349B06}" dt="2022-12-23T11:09:26.369" v="4261" actId="1036"/>
        <pc:sldMkLst>
          <pc:docMk/>
          <pc:sldMk cId="319979765" sldId="2134806345"/>
        </pc:sldMkLst>
        <pc:picChg chg="add mod">
          <ac:chgData name="STEPANCHENKO, D. (Dmitrii)" userId="30c9d29d-ac41-46ff-b2be-c3f5dd1e26e1" providerId="ADAL" clId="{0D4D30D3-52F8-490C-8E8C-24DC58349B06}" dt="2022-12-23T11:09:26.369" v="4261" actId="1036"/>
          <ac:picMkLst>
            <pc:docMk/>
            <pc:sldMk cId="319979765" sldId="2134806345"/>
            <ac:picMk id="4" creationId="{4C8BE61A-2F3A-4FEA-9317-70FF39B404E7}"/>
          </ac:picMkLst>
        </pc:picChg>
      </pc:sldChg>
      <pc:sldChg chg="addSp modSp add mod">
        <pc:chgData name="STEPANCHENKO, D. (Dmitrii)" userId="30c9d29d-ac41-46ff-b2be-c3f5dd1e26e1" providerId="ADAL" clId="{0D4D30D3-52F8-490C-8E8C-24DC58349B06}" dt="2022-12-23T11:10:49.972" v="4265" actId="1036"/>
        <pc:sldMkLst>
          <pc:docMk/>
          <pc:sldMk cId="1623928624" sldId="2134806346"/>
        </pc:sldMkLst>
        <pc:picChg chg="add mod">
          <ac:chgData name="STEPANCHENKO, D. (Dmitrii)" userId="30c9d29d-ac41-46ff-b2be-c3f5dd1e26e1" providerId="ADAL" clId="{0D4D30D3-52F8-490C-8E8C-24DC58349B06}" dt="2022-12-23T11:10:49.972" v="4265" actId="1036"/>
          <ac:picMkLst>
            <pc:docMk/>
            <pc:sldMk cId="1623928624" sldId="2134806346"/>
            <ac:picMk id="4" creationId="{3111B2C3-E963-479B-9B06-0EC84EC99BA3}"/>
          </ac:picMkLst>
        </pc:picChg>
      </pc:sldChg>
      <pc:sldChg chg="addSp delSp modSp add mod ord">
        <pc:chgData name="STEPANCHENKO, D. (Dmitrii)" userId="30c9d29d-ac41-46ff-b2be-c3f5dd1e26e1" providerId="ADAL" clId="{0D4D30D3-52F8-490C-8E8C-24DC58349B06}" dt="2022-12-23T11:15:07.165" v="4278" actId="14100"/>
        <pc:sldMkLst>
          <pc:docMk/>
          <pc:sldMk cId="3986974841" sldId="2134806347"/>
        </pc:sldMkLst>
        <pc:picChg chg="del">
          <ac:chgData name="STEPANCHENKO, D. (Dmitrii)" userId="30c9d29d-ac41-46ff-b2be-c3f5dd1e26e1" providerId="ADAL" clId="{0D4D30D3-52F8-490C-8E8C-24DC58349B06}" dt="2022-12-23T11:11:06.064" v="4272" actId="478"/>
          <ac:picMkLst>
            <pc:docMk/>
            <pc:sldMk cId="3986974841" sldId="2134806347"/>
            <ac:picMk id="4" creationId="{75934AAE-4E2F-404E-8D00-83E1D3A6AE93}"/>
          </ac:picMkLst>
        </pc:picChg>
        <pc:picChg chg="add mod">
          <ac:chgData name="STEPANCHENKO, D. (Dmitrii)" userId="30c9d29d-ac41-46ff-b2be-c3f5dd1e26e1" providerId="ADAL" clId="{0D4D30D3-52F8-490C-8E8C-24DC58349B06}" dt="2022-12-23T11:15:07.165" v="4278" actId="14100"/>
          <ac:picMkLst>
            <pc:docMk/>
            <pc:sldMk cId="3986974841" sldId="2134806347"/>
            <ac:picMk id="5" creationId="{837C5759-45A0-43DC-8565-C74AF28123B6}"/>
          </ac:picMkLst>
        </pc:picChg>
      </pc:sldChg>
      <pc:sldChg chg="add del">
        <pc:chgData name="STEPANCHENKO, D. (Dmitrii)" userId="30c9d29d-ac41-46ff-b2be-c3f5dd1e26e1" providerId="ADAL" clId="{0D4D30D3-52F8-490C-8E8C-24DC58349B06}" dt="2022-12-23T11:23:23.834" v="4279" actId="47"/>
        <pc:sldMkLst>
          <pc:docMk/>
          <pc:sldMk cId="1721167703" sldId="2134806348"/>
        </pc:sldMkLst>
      </pc:sldChg>
      <pc:sldChg chg="addSp delSp modSp add mod">
        <pc:chgData name="STEPANCHENKO, D. (Dmitrii)" userId="30c9d29d-ac41-46ff-b2be-c3f5dd1e26e1" providerId="ADAL" clId="{0D4D30D3-52F8-490C-8E8C-24DC58349B06}" dt="2022-12-23T14:30:54.685" v="7164"/>
        <pc:sldMkLst>
          <pc:docMk/>
          <pc:sldMk cId="3121307498" sldId="2134806348"/>
        </pc:sldMkLst>
        <pc:spChg chg="mod">
          <ac:chgData name="STEPANCHENKO, D. (Dmitrii)" userId="30c9d29d-ac41-46ff-b2be-c3f5dd1e26e1" providerId="ADAL" clId="{0D4D30D3-52F8-490C-8E8C-24DC58349B06}" dt="2022-12-23T13:14:04.092" v="5017" actId="20577"/>
          <ac:spMkLst>
            <pc:docMk/>
            <pc:sldMk cId="3121307498" sldId="2134806348"/>
            <ac:spMk id="5" creationId="{81BD1123-3626-1C45-BF5B-1C1864FA8AFA}"/>
          </ac:spMkLst>
        </pc:spChg>
        <pc:spChg chg="add del mod">
          <ac:chgData name="STEPANCHENKO, D. (Dmitrii)" userId="30c9d29d-ac41-46ff-b2be-c3f5dd1e26e1" providerId="ADAL" clId="{0D4D30D3-52F8-490C-8E8C-24DC58349B06}" dt="2022-12-23T13:13:25.261" v="4958" actId="478"/>
          <ac:spMkLst>
            <pc:docMk/>
            <pc:sldMk cId="3121307498" sldId="2134806348"/>
            <ac:spMk id="10" creationId="{9C5A0EB6-2285-42A4-9102-5727E576FB60}"/>
          </ac:spMkLst>
        </pc:spChg>
        <pc:spChg chg="del">
          <ac:chgData name="STEPANCHENKO, D. (Dmitrii)" userId="30c9d29d-ac41-46ff-b2be-c3f5dd1e26e1" providerId="ADAL" clId="{0D4D30D3-52F8-490C-8E8C-24DC58349B06}" dt="2022-12-23T13:24:19.088" v="5644" actId="478"/>
          <ac:spMkLst>
            <pc:docMk/>
            <pc:sldMk cId="3121307498" sldId="2134806348"/>
            <ac:spMk id="12" creationId="{0752E6A3-4425-48A0-9570-33BE5F54B45C}"/>
          </ac:spMkLst>
        </pc:spChg>
        <pc:graphicFrameChg chg="del mod">
          <ac:chgData name="STEPANCHENKO, D. (Dmitrii)" userId="30c9d29d-ac41-46ff-b2be-c3f5dd1e26e1" providerId="ADAL" clId="{0D4D30D3-52F8-490C-8E8C-24DC58349B06}" dt="2022-12-23T13:13:20.438" v="4956" actId="478"/>
          <ac:graphicFrameMkLst>
            <pc:docMk/>
            <pc:sldMk cId="3121307498" sldId="2134806348"/>
            <ac:graphicFrameMk id="6" creationId="{13ED6E41-6289-460B-BAE9-304E921B4555}"/>
          </ac:graphicFrameMkLst>
        </pc:graphicFrameChg>
        <pc:graphicFrameChg chg="add mod modGraphic">
          <ac:chgData name="STEPANCHENKO, D. (Dmitrii)" userId="30c9d29d-ac41-46ff-b2be-c3f5dd1e26e1" providerId="ADAL" clId="{0D4D30D3-52F8-490C-8E8C-24DC58349B06}" dt="2022-12-23T14:30:54.685" v="7164"/>
          <ac:graphicFrameMkLst>
            <pc:docMk/>
            <pc:sldMk cId="3121307498" sldId="2134806348"/>
            <ac:graphicFrameMk id="7" creationId="{6FF43420-5F97-4112-B0D3-FE928926660A}"/>
          </ac:graphicFrameMkLst>
        </pc:graphicFrameChg>
        <pc:cxnChg chg="add del mod">
          <ac:chgData name="STEPANCHENKO, D. (Dmitrii)" userId="30c9d29d-ac41-46ff-b2be-c3f5dd1e26e1" providerId="ADAL" clId="{0D4D30D3-52F8-490C-8E8C-24DC58349B06}" dt="2022-12-23T13:13:25.261" v="4958" actId="478"/>
          <ac:cxnSpMkLst>
            <pc:docMk/>
            <pc:sldMk cId="3121307498" sldId="2134806348"/>
            <ac:cxnSpMk id="8" creationId="{FBB0DCA7-3FFF-4F92-88FA-366A28C7E215}"/>
          </ac:cxnSpMkLst>
        </pc:cxnChg>
        <pc:cxnChg chg="del">
          <ac:chgData name="STEPANCHENKO, D. (Dmitrii)" userId="30c9d29d-ac41-46ff-b2be-c3f5dd1e26e1" providerId="ADAL" clId="{0D4D30D3-52F8-490C-8E8C-24DC58349B06}" dt="2022-12-23T13:13:27.338" v="4959" actId="478"/>
          <ac:cxnSpMkLst>
            <pc:docMk/>
            <pc:sldMk cId="3121307498" sldId="2134806348"/>
            <ac:cxnSpMk id="9" creationId="{B0A39E29-580B-410B-94A4-8966AC40A585}"/>
          </ac:cxnSpMkLst>
        </pc:cxnChg>
        <pc:cxnChg chg="del">
          <ac:chgData name="STEPANCHENKO, D. (Dmitrii)" userId="30c9d29d-ac41-46ff-b2be-c3f5dd1e26e1" providerId="ADAL" clId="{0D4D30D3-52F8-490C-8E8C-24DC58349B06}" dt="2022-12-23T13:13:25.261" v="4958" actId="478"/>
          <ac:cxnSpMkLst>
            <pc:docMk/>
            <pc:sldMk cId="3121307498" sldId="2134806348"/>
            <ac:cxnSpMk id="11" creationId="{E502FB7F-08B3-473F-9827-C88F050F5A53}"/>
          </ac:cxnSpMkLst>
        </pc:cxnChg>
      </pc:sldChg>
      <pc:sldChg chg="add del">
        <pc:chgData name="STEPANCHENKO, D. (Dmitrii)" userId="30c9d29d-ac41-46ff-b2be-c3f5dd1e26e1" providerId="ADAL" clId="{0D4D30D3-52F8-490C-8E8C-24DC58349B06}" dt="2022-12-23T11:23:23.834" v="4279" actId="47"/>
        <pc:sldMkLst>
          <pc:docMk/>
          <pc:sldMk cId="124101785" sldId="2134806349"/>
        </pc:sldMkLst>
      </pc:sldChg>
      <pc:sldChg chg="addSp delSp modSp new mod">
        <pc:chgData name="STEPANCHENKO, D. (Dmitrii)" userId="30c9d29d-ac41-46ff-b2be-c3f5dd1e26e1" providerId="ADAL" clId="{0D4D30D3-52F8-490C-8E8C-24DC58349B06}" dt="2022-12-31T10:28:41.364" v="8161" actId="13926"/>
        <pc:sldMkLst>
          <pc:docMk/>
          <pc:sldMk cId="360950131" sldId="2134806349"/>
        </pc:sldMkLst>
        <pc:spChg chg="add mod">
          <ac:chgData name="STEPANCHENKO, D. (Dmitrii)" userId="30c9d29d-ac41-46ff-b2be-c3f5dd1e26e1" providerId="ADAL" clId="{0D4D30D3-52F8-490C-8E8C-24DC58349B06}" dt="2022-12-31T09:54:33.035" v="7679" actId="20577"/>
          <ac:spMkLst>
            <pc:docMk/>
            <pc:sldMk cId="360950131" sldId="2134806349"/>
            <ac:spMk id="3" creationId="{883B87B3-D1D2-4A3B-97F2-6F7840DB0C96}"/>
          </ac:spMkLst>
        </pc:spChg>
        <pc:spChg chg="add del mod">
          <ac:chgData name="STEPANCHENKO, D. (Dmitrii)" userId="30c9d29d-ac41-46ff-b2be-c3f5dd1e26e1" providerId="ADAL" clId="{0D4D30D3-52F8-490C-8E8C-24DC58349B06}" dt="2022-12-31T09:37:52.183" v="7497" actId="478"/>
          <ac:spMkLst>
            <pc:docMk/>
            <pc:sldMk cId="360950131" sldId="2134806349"/>
            <ac:spMk id="4" creationId="{EA22778B-F400-432D-BB24-0582B34F780D}"/>
          </ac:spMkLst>
        </pc:spChg>
        <pc:spChg chg="add del mod">
          <ac:chgData name="STEPANCHENKO, D. (Dmitrii)" userId="30c9d29d-ac41-46ff-b2be-c3f5dd1e26e1" providerId="ADAL" clId="{0D4D30D3-52F8-490C-8E8C-24DC58349B06}" dt="2022-12-31T09:49:43.387" v="7532" actId="478"/>
          <ac:spMkLst>
            <pc:docMk/>
            <pc:sldMk cId="360950131" sldId="2134806349"/>
            <ac:spMk id="5" creationId="{35860DDC-CD3B-48EA-A8E4-1728A29086D2}"/>
          </ac:spMkLst>
        </pc:spChg>
        <pc:spChg chg="add mod">
          <ac:chgData name="STEPANCHENKO, D. (Dmitrii)" userId="30c9d29d-ac41-46ff-b2be-c3f5dd1e26e1" providerId="ADAL" clId="{0D4D30D3-52F8-490C-8E8C-24DC58349B06}" dt="2022-12-31T09:58:04.720" v="7718" actId="113"/>
          <ac:spMkLst>
            <pc:docMk/>
            <pc:sldMk cId="360950131" sldId="2134806349"/>
            <ac:spMk id="6" creationId="{71D31709-4D55-4C34-ADBC-AA0A4AD2523F}"/>
          </ac:spMkLst>
        </pc:spChg>
        <pc:spChg chg="add mod">
          <ac:chgData name="STEPANCHENKO, D. (Dmitrii)" userId="30c9d29d-ac41-46ff-b2be-c3f5dd1e26e1" providerId="ADAL" clId="{0D4D30D3-52F8-490C-8E8C-24DC58349B06}" dt="2022-12-31T09:54:27.159" v="7675" actId="20577"/>
          <ac:spMkLst>
            <pc:docMk/>
            <pc:sldMk cId="360950131" sldId="2134806349"/>
            <ac:spMk id="7" creationId="{9553823D-25F9-4338-8CFF-88676D4B8CD0}"/>
          </ac:spMkLst>
        </pc:spChg>
        <pc:spChg chg="add del mod">
          <ac:chgData name="STEPANCHENKO, D. (Dmitrii)" userId="30c9d29d-ac41-46ff-b2be-c3f5dd1e26e1" providerId="ADAL" clId="{0D4D30D3-52F8-490C-8E8C-24DC58349B06}" dt="2022-12-31T09:53:46.647" v="7668"/>
          <ac:spMkLst>
            <pc:docMk/>
            <pc:sldMk cId="360950131" sldId="2134806349"/>
            <ac:spMk id="8" creationId="{0BB210D5-AE4A-468F-B8D7-D821D5F51960}"/>
          </ac:spMkLst>
        </pc:spChg>
        <pc:spChg chg="add mod">
          <ac:chgData name="STEPANCHENKO, D. (Dmitrii)" userId="30c9d29d-ac41-46ff-b2be-c3f5dd1e26e1" providerId="ADAL" clId="{0D4D30D3-52F8-490C-8E8C-24DC58349B06}" dt="2022-12-31T10:15:45.190" v="7950" actId="1035"/>
          <ac:spMkLst>
            <pc:docMk/>
            <pc:sldMk cId="360950131" sldId="2134806349"/>
            <ac:spMk id="9" creationId="{F862E89A-04D9-42DC-8E11-7E5508016823}"/>
          </ac:spMkLst>
        </pc:spChg>
        <pc:spChg chg="add mod">
          <ac:chgData name="STEPANCHENKO, D. (Dmitrii)" userId="30c9d29d-ac41-46ff-b2be-c3f5dd1e26e1" providerId="ADAL" clId="{0D4D30D3-52F8-490C-8E8C-24DC58349B06}" dt="2022-12-31T10:01:09.537" v="7768" actId="20577"/>
          <ac:spMkLst>
            <pc:docMk/>
            <pc:sldMk cId="360950131" sldId="2134806349"/>
            <ac:spMk id="10" creationId="{2254E375-2FB3-4511-9C58-9442856C2042}"/>
          </ac:spMkLst>
        </pc:spChg>
        <pc:spChg chg="add mod">
          <ac:chgData name="STEPANCHENKO, D. (Dmitrii)" userId="30c9d29d-ac41-46ff-b2be-c3f5dd1e26e1" providerId="ADAL" clId="{0D4D30D3-52F8-490C-8E8C-24DC58349B06}" dt="2022-12-31T10:01:28.341" v="7769" actId="20577"/>
          <ac:spMkLst>
            <pc:docMk/>
            <pc:sldMk cId="360950131" sldId="2134806349"/>
            <ac:spMk id="11" creationId="{75116657-C492-4787-B89F-2E382C74A770}"/>
          </ac:spMkLst>
        </pc:spChg>
        <pc:spChg chg="add del mod">
          <ac:chgData name="STEPANCHENKO, D. (Dmitrii)" userId="30c9d29d-ac41-46ff-b2be-c3f5dd1e26e1" providerId="ADAL" clId="{0D4D30D3-52F8-490C-8E8C-24DC58349B06}" dt="2022-12-31T10:16:20.435" v="7958"/>
          <ac:spMkLst>
            <pc:docMk/>
            <pc:sldMk cId="360950131" sldId="2134806349"/>
            <ac:spMk id="12" creationId="{8CECEFCD-8BBE-46F4-A15C-222771981066}"/>
          </ac:spMkLst>
        </pc:spChg>
        <pc:spChg chg="add mod">
          <ac:chgData name="STEPANCHENKO, D. (Dmitrii)" userId="30c9d29d-ac41-46ff-b2be-c3f5dd1e26e1" providerId="ADAL" clId="{0D4D30D3-52F8-490C-8E8C-24DC58349B06}" dt="2022-12-31T10:15:30.102" v="7930" actId="208"/>
          <ac:spMkLst>
            <pc:docMk/>
            <pc:sldMk cId="360950131" sldId="2134806349"/>
            <ac:spMk id="13" creationId="{C3176AA9-79B2-4078-AB48-06CE14816A48}"/>
          </ac:spMkLst>
        </pc:spChg>
        <pc:spChg chg="add mod">
          <ac:chgData name="STEPANCHENKO, D. (Dmitrii)" userId="30c9d29d-ac41-46ff-b2be-c3f5dd1e26e1" providerId="ADAL" clId="{0D4D30D3-52F8-490C-8E8C-24DC58349B06}" dt="2022-12-31T10:15:40.795" v="7933" actId="14100"/>
          <ac:spMkLst>
            <pc:docMk/>
            <pc:sldMk cId="360950131" sldId="2134806349"/>
            <ac:spMk id="14" creationId="{259EA7A0-89DC-4662-ADF7-A34222303E96}"/>
          </ac:spMkLst>
        </pc:spChg>
        <pc:spChg chg="add mod">
          <ac:chgData name="STEPANCHENKO, D. (Dmitrii)" userId="30c9d29d-ac41-46ff-b2be-c3f5dd1e26e1" providerId="ADAL" clId="{0D4D30D3-52F8-490C-8E8C-24DC58349B06}" dt="2022-12-31T10:16:03.576" v="7953" actId="208"/>
          <ac:spMkLst>
            <pc:docMk/>
            <pc:sldMk cId="360950131" sldId="2134806349"/>
            <ac:spMk id="15" creationId="{E6217700-48BD-4F57-ABEE-041604653B78}"/>
          </ac:spMkLst>
        </pc:spChg>
        <pc:spChg chg="add mod">
          <ac:chgData name="STEPANCHENKO, D. (Dmitrii)" userId="30c9d29d-ac41-46ff-b2be-c3f5dd1e26e1" providerId="ADAL" clId="{0D4D30D3-52F8-490C-8E8C-24DC58349B06}" dt="2022-12-31T10:19:52.317" v="7978" actId="1076"/>
          <ac:spMkLst>
            <pc:docMk/>
            <pc:sldMk cId="360950131" sldId="2134806349"/>
            <ac:spMk id="21" creationId="{A3D901E1-D7CE-442B-B7D6-9C2E29C94163}"/>
          </ac:spMkLst>
        </pc:spChg>
        <pc:spChg chg="add mod">
          <ac:chgData name="STEPANCHENKO, D. (Dmitrii)" userId="30c9d29d-ac41-46ff-b2be-c3f5dd1e26e1" providerId="ADAL" clId="{0D4D30D3-52F8-490C-8E8C-24DC58349B06}" dt="2022-12-31T10:20:11.377" v="7982" actId="1076"/>
          <ac:spMkLst>
            <pc:docMk/>
            <pc:sldMk cId="360950131" sldId="2134806349"/>
            <ac:spMk id="23" creationId="{5DED1613-F425-403B-900C-6746670A4E2E}"/>
          </ac:spMkLst>
        </pc:spChg>
        <pc:spChg chg="add mod">
          <ac:chgData name="STEPANCHENKO, D. (Dmitrii)" userId="30c9d29d-ac41-46ff-b2be-c3f5dd1e26e1" providerId="ADAL" clId="{0D4D30D3-52F8-490C-8E8C-24DC58349B06}" dt="2022-12-31T10:27:36.217" v="8068" actId="207"/>
          <ac:spMkLst>
            <pc:docMk/>
            <pc:sldMk cId="360950131" sldId="2134806349"/>
            <ac:spMk id="24" creationId="{C56E59CD-596D-4481-96B1-A5922026B5E6}"/>
          </ac:spMkLst>
        </pc:spChg>
        <pc:spChg chg="add mod">
          <ac:chgData name="STEPANCHENKO, D. (Dmitrii)" userId="30c9d29d-ac41-46ff-b2be-c3f5dd1e26e1" providerId="ADAL" clId="{0D4D30D3-52F8-490C-8E8C-24DC58349B06}" dt="2022-12-31T10:28:41.364" v="8161" actId="13926"/>
          <ac:spMkLst>
            <pc:docMk/>
            <pc:sldMk cId="360950131" sldId="2134806349"/>
            <ac:spMk id="25" creationId="{3791451D-F1FF-4866-BEE7-76DB3C40E6CC}"/>
          </ac:spMkLst>
        </pc:spChg>
        <pc:picChg chg="add mod">
          <ac:chgData name="STEPANCHENKO, D. (Dmitrii)" userId="30c9d29d-ac41-46ff-b2be-c3f5dd1e26e1" providerId="ADAL" clId="{0D4D30D3-52F8-490C-8E8C-24DC58349B06}" dt="2022-12-31T10:27:14.788" v="8062" actId="2085"/>
          <ac:picMkLst>
            <pc:docMk/>
            <pc:sldMk cId="360950131" sldId="2134806349"/>
            <ac:picMk id="19" creationId="{E9D36FD0-7880-46B9-BE12-852B3DFACF76}"/>
          </ac:picMkLst>
        </pc:picChg>
        <pc:cxnChg chg="add mod">
          <ac:chgData name="STEPANCHENKO, D. (Dmitrii)" userId="30c9d29d-ac41-46ff-b2be-c3f5dd1e26e1" providerId="ADAL" clId="{0D4D30D3-52F8-490C-8E8C-24DC58349B06}" dt="2022-12-31T10:16:12.677" v="7955" actId="208"/>
          <ac:cxnSpMkLst>
            <pc:docMk/>
            <pc:sldMk cId="360950131" sldId="2134806349"/>
            <ac:cxnSpMk id="17" creationId="{3EE0A07F-DE4D-4BE0-AC12-E01AFA9531B8}"/>
          </ac:cxnSpMkLst>
        </pc:cxnChg>
      </pc:sldChg>
      <pc:sldChg chg="add del">
        <pc:chgData name="STEPANCHENKO, D. (Dmitrii)" userId="30c9d29d-ac41-46ff-b2be-c3f5dd1e26e1" providerId="ADAL" clId="{0D4D30D3-52F8-490C-8E8C-24DC58349B06}" dt="2022-12-23T13:57:58.859" v="7139" actId="47"/>
        <pc:sldMkLst>
          <pc:docMk/>
          <pc:sldMk cId="4208811984" sldId="2134806349"/>
        </pc:sldMkLst>
      </pc:sldChg>
      <pc:sldChg chg="add del">
        <pc:chgData name="STEPANCHENKO, D. (Dmitrii)" userId="30c9d29d-ac41-46ff-b2be-c3f5dd1e26e1" providerId="ADAL" clId="{0D4D30D3-52F8-490C-8E8C-24DC58349B06}" dt="2022-12-23T11:23:23.834" v="4279" actId="47"/>
        <pc:sldMkLst>
          <pc:docMk/>
          <pc:sldMk cId="493320302" sldId="2134806350"/>
        </pc:sldMkLst>
      </pc:sldChg>
    </pc:docChg>
  </pc:docChgLst>
  <pc:docChgLst>
    <pc:chgData name="STEPANCHENKO, D. (Dmitrii)" userId="30c9d29d-ac41-46ff-b2be-c3f5dd1e26e1" providerId="ADAL" clId="{AECDBD64-E75C-4C05-9678-D3B35BDA44EC}"/>
    <pc:docChg chg="undo redo custSel addSld delSld modSld sldOrd modSection">
      <pc:chgData name="STEPANCHENKO, D. (Dmitrii)" userId="30c9d29d-ac41-46ff-b2be-c3f5dd1e26e1" providerId="ADAL" clId="{AECDBD64-E75C-4C05-9678-D3B35BDA44EC}" dt="2023-01-28T09:22:12.054" v="8181" actId="729"/>
      <pc:docMkLst>
        <pc:docMk/>
      </pc:docMkLst>
      <pc:sldChg chg="modSp mod">
        <pc:chgData name="STEPANCHENKO, D. (Dmitrii)" userId="30c9d29d-ac41-46ff-b2be-c3f5dd1e26e1" providerId="ADAL" clId="{AECDBD64-E75C-4C05-9678-D3B35BDA44EC}" dt="2023-01-05T16:52:21.942" v="8" actId="1076"/>
        <pc:sldMkLst>
          <pc:docMk/>
          <pc:sldMk cId="1150082579" sldId="2134806261"/>
        </pc:sldMkLst>
        <pc:spChg chg="mod">
          <ac:chgData name="STEPANCHENKO, D. (Dmitrii)" userId="30c9d29d-ac41-46ff-b2be-c3f5dd1e26e1" providerId="ADAL" clId="{AECDBD64-E75C-4C05-9678-D3B35BDA44EC}" dt="2023-01-05T16:52:21.942" v="8" actId="1076"/>
          <ac:spMkLst>
            <pc:docMk/>
            <pc:sldMk cId="1150082579" sldId="2134806261"/>
            <ac:spMk id="7" creationId="{00000000-0000-0000-0000-000000000000}"/>
          </ac:spMkLst>
        </pc:spChg>
      </pc:sldChg>
      <pc:sldChg chg="addSp modSp mod modAnim">
        <pc:chgData name="STEPANCHENKO, D. (Dmitrii)" userId="30c9d29d-ac41-46ff-b2be-c3f5dd1e26e1" providerId="ADAL" clId="{AECDBD64-E75C-4C05-9678-D3B35BDA44EC}" dt="2023-01-21T07:44:18.279" v="5627"/>
        <pc:sldMkLst>
          <pc:docMk/>
          <pc:sldMk cId="826615147" sldId="2134806265"/>
        </pc:sldMkLst>
        <pc:spChg chg="mod">
          <ac:chgData name="STEPANCHENKO, D. (Dmitrii)" userId="30c9d29d-ac41-46ff-b2be-c3f5dd1e26e1" providerId="ADAL" clId="{AECDBD64-E75C-4C05-9678-D3B35BDA44EC}" dt="2023-01-21T07:43:48.734" v="5621" actId="20577"/>
          <ac:spMkLst>
            <pc:docMk/>
            <pc:sldMk cId="826615147" sldId="2134806265"/>
            <ac:spMk id="3" creationId="{00000000-0000-0000-0000-000000000000}"/>
          </ac:spMkLst>
        </pc:spChg>
        <pc:spChg chg="add mod">
          <ac:chgData name="STEPANCHENKO, D. (Dmitrii)" userId="30c9d29d-ac41-46ff-b2be-c3f5dd1e26e1" providerId="ADAL" clId="{AECDBD64-E75C-4C05-9678-D3B35BDA44EC}" dt="2023-01-21T07:44:01.114" v="5625" actId="14100"/>
          <ac:spMkLst>
            <pc:docMk/>
            <pc:sldMk cId="826615147" sldId="2134806265"/>
            <ac:spMk id="7" creationId="{6D4CA871-D773-1923-93F4-200B8F534473}"/>
          </ac:spMkLst>
        </pc:spChg>
        <pc:spChg chg="mod">
          <ac:chgData name="STEPANCHENKO, D. (Dmitrii)" userId="30c9d29d-ac41-46ff-b2be-c3f5dd1e26e1" providerId="ADAL" clId="{AECDBD64-E75C-4C05-9678-D3B35BDA44EC}" dt="2023-01-21T07:42:09.881" v="5608" actId="1038"/>
          <ac:spMkLst>
            <pc:docMk/>
            <pc:sldMk cId="826615147" sldId="2134806265"/>
            <ac:spMk id="9" creationId="{00000000-0000-0000-0000-000000000000}"/>
          </ac:spMkLst>
        </pc:spChg>
      </pc:sldChg>
      <pc:sldChg chg="addSp delSp modSp mod">
        <pc:chgData name="STEPANCHENKO, D. (Dmitrii)" userId="30c9d29d-ac41-46ff-b2be-c3f5dd1e26e1" providerId="ADAL" clId="{AECDBD64-E75C-4C05-9678-D3B35BDA44EC}" dt="2023-01-26T14:46:10.959" v="8007"/>
        <pc:sldMkLst>
          <pc:docMk/>
          <pc:sldMk cId="4146022198" sldId="2134806269"/>
        </pc:sldMkLst>
        <pc:spChg chg="add mod">
          <ac:chgData name="STEPANCHENKO, D. (Dmitrii)" userId="30c9d29d-ac41-46ff-b2be-c3f5dd1e26e1" providerId="ADAL" clId="{AECDBD64-E75C-4C05-9678-D3B35BDA44EC}" dt="2023-01-26T14:46:10.959" v="8007"/>
          <ac:spMkLst>
            <pc:docMk/>
            <pc:sldMk cId="4146022198" sldId="2134806269"/>
            <ac:spMk id="3" creationId="{A27F57D4-A9B3-09B0-FE14-6C2E38A57A8A}"/>
          </ac:spMkLst>
        </pc:spChg>
        <pc:spChg chg="mod">
          <ac:chgData name="STEPANCHENKO, D. (Dmitrii)" userId="30c9d29d-ac41-46ff-b2be-c3f5dd1e26e1" providerId="ADAL" clId="{AECDBD64-E75C-4C05-9678-D3B35BDA44EC}" dt="2023-01-17T12:50:32.279" v="4454" actId="20577"/>
          <ac:spMkLst>
            <pc:docMk/>
            <pc:sldMk cId="4146022198" sldId="2134806269"/>
            <ac:spMk id="4" creationId="{E704B17B-2B24-A94D-BEEB-3665EC84CBC2}"/>
          </ac:spMkLst>
        </pc:spChg>
        <pc:spChg chg="del">
          <ac:chgData name="STEPANCHENKO, D. (Dmitrii)" userId="30c9d29d-ac41-46ff-b2be-c3f5dd1e26e1" providerId="ADAL" clId="{AECDBD64-E75C-4C05-9678-D3B35BDA44EC}" dt="2023-01-21T07:46:45.948" v="5628" actId="478"/>
          <ac:spMkLst>
            <pc:docMk/>
            <pc:sldMk cId="4146022198" sldId="2134806269"/>
            <ac:spMk id="9" creationId="{0321E1AF-71DF-9F4F-49D4-42B6DEF18470}"/>
          </ac:spMkLst>
        </pc:spChg>
      </pc:sldChg>
      <pc:sldChg chg="addSp modSp mod modAnim">
        <pc:chgData name="STEPANCHENKO, D. (Dmitrii)" userId="30c9d29d-ac41-46ff-b2be-c3f5dd1e26e1" providerId="ADAL" clId="{AECDBD64-E75C-4C05-9678-D3B35BDA44EC}" dt="2023-01-21T07:41:03.362" v="5592"/>
        <pc:sldMkLst>
          <pc:docMk/>
          <pc:sldMk cId="1937308450" sldId="2134806270"/>
        </pc:sldMkLst>
        <pc:spChg chg="mod">
          <ac:chgData name="STEPANCHENKO, D. (Dmitrii)" userId="30c9d29d-ac41-46ff-b2be-c3f5dd1e26e1" providerId="ADAL" clId="{AECDBD64-E75C-4C05-9678-D3B35BDA44EC}" dt="2023-01-21T07:39:56.088" v="5587" actId="20577"/>
          <ac:spMkLst>
            <pc:docMk/>
            <pc:sldMk cId="1937308450" sldId="2134806270"/>
            <ac:spMk id="5" creationId="{81BD1123-3626-1C45-BF5B-1C1864FA8AFA}"/>
          </ac:spMkLst>
        </pc:spChg>
        <pc:spChg chg="mod">
          <ac:chgData name="STEPANCHENKO, D. (Dmitrii)" userId="30c9d29d-ac41-46ff-b2be-c3f5dd1e26e1" providerId="ADAL" clId="{AECDBD64-E75C-4C05-9678-D3B35BDA44EC}" dt="2023-01-17T12:46:09.547" v="4394" actId="14100"/>
          <ac:spMkLst>
            <pc:docMk/>
            <pc:sldMk cId="1937308450" sldId="2134806270"/>
            <ac:spMk id="13" creationId="{D0F5E880-23A1-0B1F-8822-6311867CBE2F}"/>
          </ac:spMkLst>
        </pc:spChg>
        <pc:picChg chg="add mod">
          <ac:chgData name="STEPANCHENKO, D. (Dmitrii)" userId="30c9d29d-ac41-46ff-b2be-c3f5dd1e26e1" providerId="ADAL" clId="{AECDBD64-E75C-4C05-9678-D3B35BDA44EC}" dt="2023-01-21T07:40:53.022" v="5591" actId="14100"/>
          <ac:picMkLst>
            <pc:docMk/>
            <pc:sldMk cId="1937308450" sldId="2134806270"/>
            <ac:picMk id="4" creationId="{0619EBE1-0113-276A-8017-1672F93BFF8E}"/>
          </ac:picMkLst>
        </pc:picChg>
      </pc:sldChg>
      <pc:sldChg chg="addSp delSp modSp mod">
        <pc:chgData name="STEPANCHENKO, D. (Dmitrii)" userId="30c9d29d-ac41-46ff-b2be-c3f5dd1e26e1" providerId="ADAL" clId="{AECDBD64-E75C-4C05-9678-D3B35BDA44EC}" dt="2023-01-26T14:46:08.904" v="8006" actId="21"/>
        <pc:sldMkLst>
          <pc:docMk/>
          <pc:sldMk cId="3806807723" sldId="2134806271"/>
        </pc:sldMkLst>
        <pc:spChg chg="add del mod">
          <ac:chgData name="STEPANCHENKO, D. (Dmitrii)" userId="30c9d29d-ac41-46ff-b2be-c3f5dd1e26e1" providerId="ADAL" clId="{AECDBD64-E75C-4C05-9678-D3B35BDA44EC}" dt="2023-01-26T14:46:08.904" v="8006" actId="21"/>
          <ac:spMkLst>
            <pc:docMk/>
            <pc:sldMk cId="3806807723" sldId="2134806271"/>
            <ac:spMk id="3" creationId="{E40C9FF6-E2EB-6E98-C740-A91B97198C40}"/>
          </ac:spMkLst>
        </pc:spChg>
      </pc:sldChg>
      <pc:sldChg chg="addSp delSp modSp mod">
        <pc:chgData name="STEPANCHENKO, D. (Dmitrii)" userId="30c9d29d-ac41-46ff-b2be-c3f5dd1e26e1" providerId="ADAL" clId="{AECDBD64-E75C-4C05-9678-D3B35BDA44EC}" dt="2023-01-28T09:10:30.067" v="8180" actId="20577"/>
        <pc:sldMkLst>
          <pc:docMk/>
          <pc:sldMk cId="2322687294" sldId="2134806289"/>
        </pc:sldMkLst>
        <pc:spChg chg="add mod">
          <ac:chgData name="STEPANCHENKO, D. (Dmitrii)" userId="30c9d29d-ac41-46ff-b2be-c3f5dd1e26e1" providerId="ADAL" clId="{AECDBD64-E75C-4C05-9678-D3B35BDA44EC}" dt="2023-01-28T09:10:30.067" v="8180" actId="20577"/>
          <ac:spMkLst>
            <pc:docMk/>
            <pc:sldMk cId="2322687294" sldId="2134806289"/>
            <ac:spMk id="4" creationId="{FABF48EB-F5DD-73B7-0214-661762AC84D0}"/>
          </ac:spMkLst>
        </pc:spChg>
        <pc:spChg chg="mod">
          <ac:chgData name="STEPANCHENKO, D. (Dmitrii)" userId="30c9d29d-ac41-46ff-b2be-c3f5dd1e26e1" providerId="ADAL" clId="{AECDBD64-E75C-4C05-9678-D3B35BDA44EC}" dt="2023-01-26T13:33:01.598" v="7461" actId="255"/>
          <ac:spMkLst>
            <pc:docMk/>
            <pc:sldMk cId="2322687294" sldId="2134806289"/>
            <ac:spMk id="6" creationId="{7304A516-7872-1BDB-C272-35B46237BDC5}"/>
          </ac:spMkLst>
        </pc:spChg>
        <pc:spChg chg="mod">
          <ac:chgData name="STEPANCHENKO, D. (Dmitrii)" userId="30c9d29d-ac41-46ff-b2be-c3f5dd1e26e1" providerId="ADAL" clId="{AECDBD64-E75C-4C05-9678-D3B35BDA44EC}" dt="2023-01-26T13:33:15.252" v="7502" actId="1035"/>
          <ac:spMkLst>
            <pc:docMk/>
            <pc:sldMk cId="2322687294" sldId="2134806289"/>
            <ac:spMk id="9" creationId="{17E51F88-4398-76C0-3DF9-8503C88BEBE1}"/>
          </ac:spMkLst>
        </pc:spChg>
        <pc:spChg chg="add del">
          <ac:chgData name="STEPANCHENKO, D. (Dmitrii)" userId="30c9d29d-ac41-46ff-b2be-c3f5dd1e26e1" providerId="ADAL" clId="{AECDBD64-E75C-4C05-9678-D3B35BDA44EC}" dt="2023-01-28T09:08:42.159" v="8178" actId="478"/>
          <ac:spMkLst>
            <pc:docMk/>
            <pc:sldMk cId="2322687294" sldId="2134806289"/>
            <ac:spMk id="10" creationId="{4E427729-0D39-ED08-E5B8-FA2E3D08BE23}"/>
          </ac:spMkLst>
        </pc:spChg>
        <pc:graphicFrameChg chg="mod">
          <ac:chgData name="STEPANCHENKO, D. (Dmitrii)" userId="30c9d29d-ac41-46ff-b2be-c3f5dd1e26e1" providerId="ADAL" clId="{AECDBD64-E75C-4C05-9678-D3B35BDA44EC}" dt="2023-01-26T13:33:28.627" v="7504" actId="14100"/>
          <ac:graphicFrameMkLst>
            <pc:docMk/>
            <pc:sldMk cId="2322687294" sldId="2134806289"/>
            <ac:graphicFrameMk id="3" creationId="{A12E7895-C2CC-4F97-8797-1EDFDB6BAB8A}"/>
          </ac:graphicFrameMkLst>
        </pc:graphicFrameChg>
        <pc:graphicFrameChg chg="mod">
          <ac:chgData name="STEPANCHENKO, D. (Dmitrii)" userId="30c9d29d-ac41-46ff-b2be-c3f5dd1e26e1" providerId="ADAL" clId="{AECDBD64-E75C-4C05-9678-D3B35BDA44EC}" dt="2023-01-26T13:33:20.612" v="7503" actId="14100"/>
          <ac:graphicFrameMkLst>
            <pc:docMk/>
            <pc:sldMk cId="2322687294" sldId="2134806289"/>
            <ac:graphicFrameMk id="8" creationId="{1A4ACF02-C0D9-4956-8284-1CE9DD6E2608}"/>
          </ac:graphicFrameMkLst>
        </pc:graphicFrameChg>
      </pc:sldChg>
      <pc:sldChg chg="modSp mod">
        <pc:chgData name="STEPANCHENKO, D. (Dmitrii)" userId="30c9d29d-ac41-46ff-b2be-c3f5dd1e26e1" providerId="ADAL" clId="{AECDBD64-E75C-4C05-9678-D3B35BDA44EC}" dt="2023-01-26T14:41:51.002" v="7970" actId="313"/>
        <pc:sldMkLst>
          <pc:docMk/>
          <pc:sldMk cId="1987294738" sldId="2134806293"/>
        </pc:sldMkLst>
        <pc:spChg chg="mod">
          <ac:chgData name="STEPANCHENKO, D. (Dmitrii)" userId="30c9d29d-ac41-46ff-b2be-c3f5dd1e26e1" providerId="ADAL" clId="{AECDBD64-E75C-4C05-9678-D3B35BDA44EC}" dt="2023-01-26T14:41:51.002" v="7970" actId="313"/>
          <ac:spMkLst>
            <pc:docMk/>
            <pc:sldMk cId="1987294738" sldId="2134806293"/>
            <ac:spMk id="11" creationId="{4A89C080-E02A-4114-9A18-64ED1A28D56E}"/>
          </ac:spMkLst>
        </pc:spChg>
        <pc:spChg chg="mod">
          <ac:chgData name="STEPANCHENKO, D. (Dmitrii)" userId="30c9d29d-ac41-46ff-b2be-c3f5dd1e26e1" providerId="ADAL" clId="{AECDBD64-E75C-4C05-9678-D3B35BDA44EC}" dt="2023-01-26T14:26:25.273" v="7947" actId="1036"/>
          <ac:spMkLst>
            <pc:docMk/>
            <pc:sldMk cId="1987294738" sldId="2134806293"/>
            <ac:spMk id="12" creationId="{5BECD0C1-26C4-4E02-BB63-25E01F272DF2}"/>
          </ac:spMkLst>
        </pc:spChg>
        <pc:spChg chg="mod">
          <ac:chgData name="STEPANCHENKO, D. (Dmitrii)" userId="30c9d29d-ac41-46ff-b2be-c3f5dd1e26e1" providerId="ADAL" clId="{AECDBD64-E75C-4C05-9678-D3B35BDA44EC}" dt="2023-01-26T14:26:25.273" v="7947" actId="1036"/>
          <ac:spMkLst>
            <pc:docMk/>
            <pc:sldMk cId="1987294738" sldId="2134806293"/>
            <ac:spMk id="13" creationId="{4D660AA7-3162-4D46-B4E1-8000203E46DB}"/>
          </ac:spMkLst>
        </pc:spChg>
        <pc:picChg chg="mod">
          <ac:chgData name="STEPANCHENKO, D. (Dmitrii)" userId="30c9d29d-ac41-46ff-b2be-c3f5dd1e26e1" providerId="ADAL" clId="{AECDBD64-E75C-4C05-9678-D3B35BDA44EC}" dt="2023-01-26T14:26:15.306" v="7930" actId="1036"/>
          <ac:picMkLst>
            <pc:docMk/>
            <pc:sldMk cId="1987294738" sldId="2134806293"/>
            <ac:picMk id="7" creationId="{DA22D0AB-A3F3-4384-959B-21FC75464F37}"/>
          </ac:picMkLst>
        </pc:picChg>
        <pc:picChg chg="mod">
          <ac:chgData name="STEPANCHENKO, D. (Dmitrii)" userId="30c9d29d-ac41-46ff-b2be-c3f5dd1e26e1" providerId="ADAL" clId="{AECDBD64-E75C-4C05-9678-D3B35BDA44EC}" dt="2023-01-26T14:26:15.306" v="7930" actId="1036"/>
          <ac:picMkLst>
            <pc:docMk/>
            <pc:sldMk cId="1987294738" sldId="2134806293"/>
            <ac:picMk id="9" creationId="{D4025C18-5336-4476-B071-56F399D22E06}"/>
          </ac:picMkLst>
        </pc:picChg>
      </pc:sldChg>
      <pc:sldChg chg="addSp delSp modSp mod addCm delCm">
        <pc:chgData name="STEPANCHENKO, D. (Dmitrii)" userId="30c9d29d-ac41-46ff-b2be-c3f5dd1e26e1" providerId="ADAL" clId="{AECDBD64-E75C-4C05-9678-D3B35BDA44EC}" dt="2023-01-26T14:41:04.034" v="7969" actId="478"/>
        <pc:sldMkLst>
          <pc:docMk/>
          <pc:sldMk cId="860713518" sldId="2134806317"/>
        </pc:sldMkLst>
        <pc:spChg chg="mod">
          <ac:chgData name="STEPANCHENKO, D. (Dmitrii)" userId="30c9d29d-ac41-46ff-b2be-c3f5dd1e26e1" providerId="ADAL" clId="{AECDBD64-E75C-4C05-9678-D3B35BDA44EC}" dt="2023-01-26T13:08:26.036" v="6964" actId="20577"/>
          <ac:spMkLst>
            <pc:docMk/>
            <pc:sldMk cId="860713518" sldId="2134806317"/>
            <ac:spMk id="6" creationId="{CA023485-E4D0-17B0-F130-39357FD06C63}"/>
          </ac:spMkLst>
        </pc:spChg>
        <pc:graphicFrameChg chg="add del">
          <ac:chgData name="STEPANCHENKO, D. (Dmitrii)" userId="30c9d29d-ac41-46ff-b2be-c3f5dd1e26e1" providerId="ADAL" clId="{AECDBD64-E75C-4C05-9678-D3B35BDA44EC}" dt="2023-01-26T14:41:04.034" v="7969" actId="478"/>
          <ac:graphicFrameMkLst>
            <pc:docMk/>
            <pc:sldMk cId="860713518" sldId="2134806317"/>
            <ac:graphicFrameMk id="14" creationId="{C3AE15A4-BE13-59C3-1E96-9113C817F12F}"/>
          </ac:graphicFrameMkLst>
        </pc:graphicFrameChg>
      </pc:sldChg>
      <pc:sldChg chg="modSp mod">
        <pc:chgData name="STEPANCHENKO, D. (Dmitrii)" userId="30c9d29d-ac41-46ff-b2be-c3f5dd1e26e1" providerId="ADAL" clId="{AECDBD64-E75C-4C05-9678-D3B35BDA44EC}" dt="2023-01-17T12:41:34.749" v="4315" actId="20577"/>
        <pc:sldMkLst>
          <pc:docMk/>
          <pc:sldMk cId="328194484" sldId="2134806320"/>
        </pc:sldMkLst>
        <pc:spChg chg="mod">
          <ac:chgData name="STEPANCHENKO, D. (Dmitrii)" userId="30c9d29d-ac41-46ff-b2be-c3f5dd1e26e1" providerId="ADAL" clId="{AECDBD64-E75C-4C05-9678-D3B35BDA44EC}" dt="2023-01-17T12:41:34.749" v="4315" actId="20577"/>
          <ac:spMkLst>
            <pc:docMk/>
            <pc:sldMk cId="328194484" sldId="2134806320"/>
            <ac:spMk id="9" creationId="{93BE4C8E-A918-63CA-7D49-B8A18393AE70}"/>
          </ac:spMkLst>
        </pc:spChg>
      </pc:sldChg>
      <pc:sldChg chg="addSp delSp modSp mod">
        <pc:chgData name="STEPANCHENKO, D. (Dmitrii)" userId="30c9d29d-ac41-46ff-b2be-c3f5dd1e26e1" providerId="ADAL" clId="{AECDBD64-E75C-4C05-9678-D3B35BDA44EC}" dt="2023-01-28T07:38:08.807" v="8032" actId="207"/>
        <pc:sldMkLst>
          <pc:docMk/>
          <pc:sldMk cId="931874431" sldId="2134806321"/>
        </pc:sldMkLst>
        <pc:spChg chg="add del">
          <ac:chgData name="STEPANCHENKO, D. (Dmitrii)" userId="30c9d29d-ac41-46ff-b2be-c3f5dd1e26e1" providerId="ADAL" clId="{AECDBD64-E75C-4C05-9678-D3B35BDA44EC}" dt="2023-01-20T13:07:29.142" v="4804" actId="11529"/>
          <ac:spMkLst>
            <pc:docMk/>
            <pc:sldMk cId="931874431" sldId="2134806321"/>
            <ac:spMk id="3" creationId="{C92072A8-26D6-2AC5-0C89-633F93DD74FA}"/>
          </ac:spMkLst>
        </pc:spChg>
        <pc:spChg chg="add del">
          <ac:chgData name="STEPANCHENKO, D. (Dmitrii)" userId="30c9d29d-ac41-46ff-b2be-c3f5dd1e26e1" providerId="ADAL" clId="{AECDBD64-E75C-4C05-9678-D3B35BDA44EC}" dt="2023-01-20T13:07:59.881" v="4808" actId="478"/>
          <ac:spMkLst>
            <pc:docMk/>
            <pc:sldMk cId="931874431" sldId="2134806321"/>
            <ac:spMk id="4" creationId="{9966BA67-798A-4A89-7C6D-F86BB2B3D60C}"/>
          </ac:spMkLst>
        </pc:spChg>
        <pc:spChg chg="add mod">
          <ac:chgData name="STEPANCHENKO, D. (Dmitrii)" userId="30c9d29d-ac41-46ff-b2be-c3f5dd1e26e1" providerId="ADAL" clId="{AECDBD64-E75C-4C05-9678-D3B35BDA44EC}" dt="2023-01-26T13:04:05.889" v="6849" actId="1036"/>
          <ac:spMkLst>
            <pc:docMk/>
            <pc:sldMk cId="931874431" sldId="2134806321"/>
            <ac:spMk id="6" creationId="{AE0CF21A-7EEC-2647-7CE1-4307193910B5}"/>
          </ac:spMkLst>
        </pc:spChg>
        <pc:spChg chg="add del mod">
          <ac:chgData name="STEPANCHENKO, D. (Dmitrii)" userId="30c9d29d-ac41-46ff-b2be-c3f5dd1e26e1" providerId="ADAL" clId="{AECDBD64-E75C-4C05-9678-D3B35BDA44EC}" dt="2023-01-20T13:10:14.999" v="4870" actId="478"/>
          <ac:spMkLst>
            <pc:docMk/>
            <pc:sldMk cId="931874431" sldId="2134806321"/>
            <ac:spMk id="7" creationId="{0B0F0228-4BA9-1EC3-D47A-DECC3A6294C9}"/>
          </ac:spMkLst>
        </pc:spChg>
        <pc:spChg chg="add mod">
          <ac:chgData name="STEPANCHENKO, D. (Dmitrii)" userId="30c9d29d-ac41-46ff-b2be-c3f5dd1e26e1" providerId="ADAL" clId="{AECDBD64-E75C-4C05-9678-D3B35BDA44EC}" dt="2023-01-26T13:04:05.889" v="6849" actId="1036"/>
          <ac:spMkLst>
            <pc:docMk/>
            <pc:sldMk cId="931874431" sldId="2134806321"/>
            <ac:spMk id="8" creationId="{EF3AA727-580F-928C-D91B-08CCC90BB46B}"/>
          </ac:spMkLst>
        </pc:spChg>
        <pc:spChg chg="mod">
          <ac:chgData name="STEPANCHENKO, D. (Dmitrii)" userId="30c9d29d-ac41-46ff-b2be-c3f5dd1e26e1" providerId="ADAL" clId="{AECDBD64-E75C-4C05-9678-D3B35BDA44EC}" dt="2023-01-28T07:38:08.807" v="8032" actId="207"/>
          <ac:spMkLst>
            <pc:docMk/>
            <pc:sldMk cId="931874431" sldId="2134806321"/>
            <ac:spMk id="28" creationId="{680C9532-9059-68DF-88F9-42B190D45C92}"/>
          </ac:spMkLst>
        </pc:spChg>
        <pc:graphicFrameChg chg="add mod">
          <ac:chgData name="STEPANCHENKO, D. (Dmitrii)" userId="30c9d29d-ac41-46ff-b2be-c3f5dd1e26e1" providerId="ADAL" clId="{AECDBD64-E75C-4C05-9678-D3B35BDA44EC}" dt="2023-01-26T13:05:09.461" v="6929"/>
          <ac:graphicFrameMkLst>
            <pc:docMk/>
            <pc:sldMk cId="931874431" sldId="2134806321"/>
            <ac:graphicFrameMk id="3" creationId="{D105480F-C095-4C97-9245-C3CB74424EC1}"/>
          </ac:graphicFrameMkLst>
        </pc:graphicFrameChg>
        <pc:graphicFrameChg chg="del">
          <ac:chgData name="STEPANCHENKO, D. (Dmitrii)" userId="30c9d29d-ac41-46ff-b2be-c3f5dd1e26e1" providerId="ADAL" clId="{AECDBD64-E75C-4C05-9678-D3B35BDA44EC}" dt="2023-01-26T12:47:00.510" v="5871" actId="478"/>
          <ac:graphicFrameMkLst>
            <pc:docMk/>
            <pc:sldMk cId="931874431" sldId="2134806321"/>
            <ac:graphicFrameMk id="29" creationId="{D105480F-C095-4C97-9245-C3CB74424EC1}"/>
          </ac:graphicFrameMkLst>
        </pc:graphicFrameChg>
      </pc:sldChg>
      <pc:sldChg chg="modSp mod">
        <pc:chgData name="STEPANCHENKO, D. (Dmitrii)" userId="30c9d29d-ac41-46ff-b2be-c3f5dd1e26e1" providerId="ADAL" clId="{AECDBD64-E75C-4C05-9678-D3B35BDA44EC}" dt="2023-01-17T12:43:51.076" v="4350" actId="20577"/>
        <pc:sldMkLst>
          <pc:docMk/>
          <pc:sldMk cId="2685767378" sldId="2134806323"/>
        </pc:sldMkLst>
        <pc:spChg chg="mod">
          <ac:chgData name="STEPANCHENKO, D. (Dmitrii)" userId="30c9d29d-ac41-46ff-b2be-c3f5dd1e26e1" providerId="ADAL" clId="{AECDBD64-E75C-4C05-9678-D3B35BDA44EC}" dt="2023-01-17T12:43:51.076" v="4350" actId="20577"/>
          <ac:spMkLst>
            <pc:docMk/>
            <pc:sldMk cId="2685767378" sldId="2134806323"/>
            <ac:spMk id="15" creationId="{F99418B2-3F36-5FAE-FFC2-7F6A32748D08}"/>
          </ac:spMkLst>
        </pc:spChg>
      </pc:sldChg>
      <pc:sldChg chg="modSp mod">
        <pc:chgData name="STEPANCHENKO, D. (Dmitrii)" userId="30c9d29d-ac41-46ff-b2be-c3f5dd1e26e1" providerId="ADAL" clId="{AECDBD64-E75C-4C05-9678-D3B35BDA44EC}" dt="2023-01-17T12:52:44.001" v="4488" actId="20577"/>
        <pc:sldMkLst>
          <pc:docMk/>
          <pc:sldMk cId="521703837" sldId="2134806326"/>
        </pc:sldMkLst>
        <pc:spChg chg="mod">
          <ac:chgData name="STEPANCHENKO, D. (Dmitrii)" userId="30c9d29d-ac41-46ff-b2be-c3f5dd1e26e1" providerId="ADAL" clId="{AECDBD64-E75C-4C05-9678-D3B35BDA44EC}" dt="2023-01-17T12:52:44.001" v="4488" actId="20577"/>
          <ac:spMkLst>
            <pc:docMk/>
            <pc:sldMk cId="521703837" sldId="2134806326"/>
            <ac:spMk id="13" creationId="{16BA56AD-B511-423F-BF15-E0DDC142DC6C}"/>
          </ac:spMkLst>
        </pc:spChg>
      </pc:sldChg>
      <pc:sldChg chg="addSp delSp modSp mod">
        <pc:chgData name="STEPANCHENKO, D. (Dmitrii)" userId="30c9d29d-ac41-46ff-b2be-c3f5dd1e26e1" providerId="ADAL" clId="{AECDBD64-E75C-4C05-9678-D3B35BDA44EC}" dt="2023-01-28T07:44:59.838" v="8137" actId="1076"/>
        <pc:sldMkLst>
          <pc:docMk/>
          <pc:sldMk cId="1383993538" sldId="2134806327"/>
        </pc:sldMkLst>
        <pc:spChg chg="add del">
          <ac:chgData name="STEPANCHENKO, D. (Dmitrii)" userId="30c9d29d-ac41-46ff-b2be-c3f5dd1e26e1" providerId="ADAL" clId="{AECDBD64-E75C-4C05-9678-D3B35BDA44EC}" dt="2023-01-28T07:44:10.727" v="8085" actId="478"/>
          <ac:spMkLst>
            <pc:docMk/>
            <pc:sldMk cId="1383993538" sldId="2134806327"/>
            <ac:spMk id="3" creationId="{7B8D6EFB-9A45-CAF7-A2F4-45AEEF81CDAD}"/>
          </ac:spMkLst>
        </pc:spChg>
        <pc:spChg chg="add">
          <ac:chgData name="STEPANCHENKO, D. (Dmitrii)" userId="30c9d29d-ac41-46ff-b2be-c3f5dd1e26e1" providerId="ADAL" clId="{AECDBD64-E75C-4C05-9678-D3B35BDA44EC}" dt="2023-01-28T07:44:17.177" v="8086" actId="11529"/>
          <ac:spMkLst>
            <pc:docMk/>
            <pc:sldMk cId="1383993538" sldId="2134806327"/>
            <ac:spMk id="4" creationId="{19BE9838-E979-05E9-AE13-F65C01198833}"/>
          </ac:spMkLst>
        </pc:spChg>
        <pc:spChg chg="mod">
          <ac:chgData name="STEPANCHENKO, D. (Dmitrii)" userId="30c9d29d-ac41-46ff-b2be-c3f5dd1e26e1" providerId="ADAL" clId="{AECDBD64-E75C-4C05-9678-D3B35BDA44EC}" dt="2023-01-28T07:43:43.698" v="8081" actId="20577"/>
          <ac:spMkLst>
            <pc:docMk/>
            <pc:sldMk cId="1383993538" sldId="2134806327"/>
            <ac:spMk id="5" creationId="{81BD1123-3626-1C45-BF5B-1C1864FA8AFA}"/>
          </ac:spMkLst>
        </pc:spChg>
        <pc:spChg chg="add mod">
          <ac:chgData name="STEPANCHENKO, D. (Dmitrii)" userId="30c9d29d-ac41-46ff-b2be-c3f5dd1e26e1" providerId="ADAL" clId="{AECDBD64-E75C-4C05-9678-D3B35BDA44EC}" dt="2023-01-28T07:44:47.719" v="8135" actId="1076"/>
          <ac:spMkLst>
            <pc:docMk/>
            <pc:sldMk cId="1383993538" sldId="2134806327"/>
            <ac:spMk id="6" creationId="{E721F06D-2E71-B87C-8987-4D1944F7C1E9}"/>
          </ac:spMkLst>
        </pc:spChg>
        <pc:spChg chg="mod">
          <ac:chgData name="STEPANCHENKO, D. (Dmitrii)" userId="30c9d29d-ac41-46ff-b2be-c3f5dd1e26e1" providerId="ADAL" clId="{AECDBD64-E75C-4C05-9678-D3B35BDA44EC}" dt="2023-01-28T07:43:55.405" v="8083" actId="255"/>
          <ac:spMkLst>
            <pc:docMk/>
            <pc:sldMk cId="1383993538" sldId="2134806327"/>
            <ac:spMk id="8" creationId="{5DECFFF7-4DDD-4DFE-AF09-04E3986FCD1F}"/>
          </ac:spMkLst>
        </pc:spChg>
        <pc:spChg chg="mod">
          <ac:chgData name="STEPANCHENKO, D. (Dmitrii)" userId="30c9d29d-ac41-46ff-b2be-c3f5dd1e26e1" providerId="ADAL" clId="{AECDBD64-E75C-4C05-9678-D3B35BDA44EC}" dt="2023-01-28T07:44:59.838" v="8137" actId="1076"/>
          <ac:spMkLst>
            <pc:docMk/>
            <pc:sldMk cId="1383993538" sldId="2134806327"/>
            <ac:spMk id="10" creationId="{52B6EE28-6B94-4077-8B54-07A0416DBEFA}"/>
          </ac:spMkLst>
        </pc:spChg>
      </pc:sldChg>
      <pc:sldChg chg="addSp delSp modSp mod ord addCm delCm modCm">
        <pc:chgData name="STEPANCHENKO, D. (Dmitrii)" userId="30c9d29d-ac41-46ff-b2be-c3f5dd1e26e1" providerId="ADAL" clId="{AECDBD64-E75C-4C05-9678-D3B35BDA44EC}" dt="2023-01-26T15:05:33.217" v="8028"/>
        <pc:sldMkLst>
          <pc:docMk/>
          <pc:sldMk cId="3089211194" sldId="2134806330"/>
        </pc:sldMkLst>
        <pc:spChg chg="add del mod">
          <ac:chgData name="STEPANCHENKO, D. (Dmitrii)" userId="30c9d29d-ac41-46ff-b2be-c3f5dd1e26e1" providerId="ADAL" clId="{AECDBD64-E75C-4C05-9678-D3B35BDA44EC}" dt="2023-01-05T11:47:33.717" v="6"/>
          <ac:spMkLst>
            <pc:docMk/>
            <pc:sldMk cId="3089211194" sldId="2134806330"/>
            <ac:spMk id="3" creationId="{FE4508D7-C8CB-4272-9868-CEAD3509A5FD}"/>
          </ac:spMkLst>
        </pc:spChg>
        <pc:spChg chg="mod">
          <ac:chgData name="STEPANCHENKO, D. (Dmitrii)" userId="30c9d29d-ac41-46ff-b2be-c3f5dd1e26e1" providerId="ADAL" clId="{AECDBD64-E75C-4C05-9678-D3B35BDA44EC}" dt="2023-01-21T07:22:48.654" v="5459" actId="20577"/>
          <ac:spMkLst>
            <pc:docMk/>
            <pc:sldMk cId="3089211194" sldId="2134806330"/>
            <ac:spMk id="5" creationId="{81BD1123-3626-1C45-BF5B-1C1864FA8AFA}"/>
          </ac:spMkLst>
        </pc:spChg>
        <pc:spChg chg="add mod">
          <ac:chgData name="STEPANCHENKO, D. (Dmitrii)" userId="30c9d29d-ac41-46ff-b2be-c3f5dd1e26e1" providerId="ADAL" clId="{AECDBD64-E75C-4C05-9678-D3B35BDA44EC}" dt="2023-01-21T07:25:52.389" v="5476" actId="14100"/>
          <ac:spMkLst>
            <pc:docMk/>
            <pc:sldMk cId="3089211194" sldId="2134806330"/>
            <ac:spMk id="6" creationId="{418AC852-BC23-43D5-A644-537958D3AB4A}"/>
          </ac:spMkLst>
        </pc:spChg>
        <pc:spChg chg="add mod">
          <ac:chgData name="STEPANCHENKO, D. (Dmitrii)" userId="30c9d29d-ac41-46ff-b2be-c3f5dd1e26e1" providerId="ADAL" clId="{AECDBD64-E75C-4C05-9678-D3B35BDA44EC}" dt="2023-01-21T08:06:54.281" v="5673" actId="208"/>
          <ac:spMkLst>
            <pc:docMk/>
            <pc:sldMk cId="3089211194" sldId="2134806330"/>
            <ac:spMk id="7" creationId="{2184C339-8E0E-3CF6-ACB3-9F945C5C9988}"/>
          </ac:spMkLst>
        </pc:spChg>
        <pc:spChg chg="add mod">
          <ac:chgData name="STEPANCHENKO, D. (Dmitrii)" userId="30c9d29d-ac41-46ff-b2be-c3f5dd1e26e1" providerId="ADAL" clId="{AECDBD64-E75C-4C05-9678-D3B35BDA44EC}" dt="2023-01-21T08:06:54.281" v="5673" actId="208"/>
          <ac:spMkLst>
            <pc:docMk/>
            <pc:sldMk cId="3089211194" sldId="2134806330"/>
            <ac:spMk id="8" creationId="{A64B4CBB-BA5C-C423-0706-B95DAB191DBE}"/>
          </ac:spMkLst>
        </pc:spChg>
        <pc:spChg chg="add del">
          <ac:chgData name="STEPANCHENKO, D. (Dmitrii)" userId="30c9d29d-ac41-46ff-b2be-c3f5dd1e26e1" providerId="ADAL" clId="{AECDBD64-E75C-4C05-9678-D3B35BDA44EC}" dt="2023-01-20T13:18:37.877" v="5180" actId="478"/>
          <ac:spMkLst>
            <pc:docMk/>
            <pc:sldMk cId="3089211194" sldId="2134806330"/>
            <ac:spMk id="9" creationId="{42546F06-DAB0-869F-AC64-2EB1AD01F60E}"/>
          </ac:spMkLst>
        </pc:spChg>
        <pc:spChg chg="add mod">
          <ac:chgData name="STEPANCHENKO, D. (Dmitrii)" userId="30c9d29d-ac41-46ff-b2be-c3f5dd1e26e1" providerId="ADAL" clId="{AECDBD64-E75C-4C05-9678-D3B35BDA44EC}" dt="2023-01-20T13:40:43.127" v="5286" actId="208"/>
          <ac:spMkLst>
            <pc:docMk/>
            <pc:sldMk cId="3089211194" sldId="2134806330"/>
            <ac:spMk id="10" creationId="{2A24E869-DFD7-EF55-37B8-0ACABB304AA3}"/>
          </ac:spMkLst>
        </pc:spChg>
        <pc:spChg chg="add mod">
          <ac:chgData name="STEPANCHENKO, D. (Dmitrii)" userId="30c9d29d-ac41-46ff-b2be-c3f5dd1e26e1" providerId="ADAL" clId="{AECDBD64-E75C-4C05-9678-D3B35BDA44EC}" dt="2023-01-21T07:23:20.059" v="5466" actId="207"/>
          <ac:spMkLst>
            <pc:docMk/>
            <pc:sldMk cId="3089211194" sldId="2134806330"/>
            <ac:spMk id="12" creationId="{D46E8337-924E-5B0D-9B23-8942DAB4AE6B}"/>
          </ac:spMkLst>
        </pc:spChg>
        <pc:picChg chg="add mod">
          <ac:chgData name="STEPANCHENKO, D. (Dmitrii)" userId="30c9d29d-ac41-46ff-b2be-c3f5dd1e26e1" providerId="ADAL" clId="{AECDBD64-E75C-4C05-9678-D3B35BDA44EC}" dt="2023-01-21T07:25:49.148" v="5475" actId="14100"/>
          <ac:picMkLst>
            <pc:docMk/>
            <pc:sldMk cId="3089211194" sldId="2134806330"/>
            <ac:picMk id="4" creationId="{FD8AF38E-C4AC-4834-9B9D-26B215DB90B5}"/>
          </ac:picMkLst>
        </pc:picChg>
        <pc:picChg chg="add del mod">
          <ac:chgData name="STEPANCHENKO, D. (Dmitrii)" userId="30c9d29d-ac41-46ff-b2be-c3f5dd1e26e1" providerId="ADAL" clId="{AECDBD64-E75C-4C05-9678-D3B35BDA44EC}" dt="2023-01-06T09:55:51.931" v="352" actId="478"/>
          <ac:picMkLst>
            <pc:docMk/>
            <pc:sldMk cId="3089211194" sldId="2134806330"/>
            <ac:picMk id="8" creationId="{05365FBF-FA36-4639-89D9-36DDC32842B7}"/>
          </ac:picMkLst>
        </pc:picChg>
        <pc:picChg chg="add del mod">
          <ac:chgData name="STEPANCHENKO, D. (Dmitrii)" userId="30c9d29d-ac41-46ff-b2be-c3f5dd1e26e1" providerId="ADAL" clId="{AECDBD64-E75C-4C05-9678-D3B35BDA44EC}" dt="2023-01-21T07:34:35.756" v="5484" actId="14100"/>
          <ac:picMkLst>
            <pc:docMk/>
            <pc:sldMk cId="3089211194" sldId="2134806330"/>
            <ac:picMk id="14" creationId="{B866031C-6438-A916-5900-17452A04FC05}"/>
          </ac:picMkLst>
        </pc:picChg>
      </pc:sldChg>
      <pc:sldChg chg="modSp mod">
        <pc:chgData name="STEPANCHENKO, D. (Dmitrii)" userId="30c9d29d-ac41-46ff-b2be-c3f5dd1e26e1" providerId="ADAL" clId="{AECDBD64-E75C-4C05-9678-D3B35BDA44EC}" dt="2023-01-11T17:19:41.952" v="2864" actId="20577"/>
        <pc:sldMkLst>
          <pc:docMk/>
          <pc:sldMk cId="4127393553" sldId="2134806331"/>
        </pc:sldMkLst>
        <pc:spChg chg="mod">
          <ac:chgData name="STEPANCHENKO, D. (Dmitrii)" userId="30c9d29d-ac41-46ff-b2be-c3f5dd1e26e1" providerId="ADAL" clId="{AECDBD64-E75C-4C05-9678-D3B35BDA44EC}" dt="2023-01-11T17:19:41.952" v="2864" actId="20577"/>
          <ac:spMkLst>
            <pc:docMk/>
            <pc:sldMk cId="4127393553" sldId="2134806331"/>
            <ac:spMk id="7" creationId="{00000000-0000-0000-0000-000000000000}"/>
          </ac:spMkLst>
        </pc:spChg>
      </pc:sldChg>
      <pc:sldChg chg="addSp delSp modSp mod modAnim">
        <pc:chgData name="STEPANCHENKO, D. (Dmitrii)" userId="30c9d29d-ac41-46ff-b2be-c3f5dd1e26e1" providerId="ADAL" clId="{AECDBD64-E75C-4C05-9678-D3B35BDA44EC}" dt="2023-01-26T14:47:51.356" v="8020" actId="20577"/>
        <pc:sldMkLst>
          <pc:docMk/>
          <pc:sldMk cId="3444687285" sldId="2134806333"/>
        </pc:sldMkLst>
        <pc:spChg chg="mod">
          <ac:chgData name="STEPANCHENKO, D. (Dmitrii)" userId="30c9d29d-ac41-46ff-b2be-c3f5dd1e26e1" providerId="ADAL" clId="{AECDBD64-E75C-4C05-9678-D3B35BDA44EC}" dt="2023-01-26T14:47:51.356" v="8020" actId="20577"/>
          <ac:spMkLst>
            <pc:docMk/>
            <pc:sldMk cId="3444687285" sldId="2134806333"/>
            <ac:spMk id="5" creationId="{81BD1123-3626-1C45-BF5B-1C1864FA8AFA}"/>
          </ac:spMkLst>
        </pc:spChg>
        <pc:spChg chg="add mod">
          <ac:chgData name="STEPANCHENKO, D. (Dmitrii)" userId="30c9d29d-ac41-46ff-b2be-c3f5dd1e26e1" providerId="ADAL" clId="{AECDBD64-E75C-4C05-9678-D3B35BDA44EC}" dt="2023-01-06T11:56:55.609" v="1029"/>
          <ac:spMkLst>
            <pc:docMk/>
            <pc:sldMk cId="3444687285" sldId="2134806333"/>
            <ac:spMk id="7" creationId="{682B65D6-B803-4460-99AF-B677554DD998}"/>
          </ac:spMkLst>
        </pc:spChg>
        <pc:spChg chg="del">
          <ac:chgData name="STEPANCHENKO, D. (Dmitrii)" userId="30c9d29d-ac41-46ff-b2be-c3f5dd1e26e1" providerId="ADAL" clId="{AECDBD64-E75C-4C05-9678-D3B35BDA44EC}" dt="2023-01-06T11:56:50.581" v="1026" actId="478"/>
          <ac:spMkLst>
            <pc:docMk/>
            <pc:sldMk cId="3444687285" sldId="2134806333"/>
            <ac:spMk id="8" creationId="{5DECFFF7-4DDD-4DFE-AF09-04E3986FCD1F}"/>
          </ac:spMkLst>
        </pc:spChg>
        <pc:spChg chg="add mod">
          <ac:chgData name="STEPANCHENKO, D. (Dmitrii)" userId="30c9d29d-ac41-46ff-b2be-c3f5dd1e26e1" providerId="ADAL" clId="{AECDBD64-E75C-4C05-9678-D3B35BDA44EC}" dt="2023-01-06T12:09:01.639" v="1238" actId="1076"/>
          <ac:spMkLst>
            <pc:docMk/>
            <pc:sldMk cId="3444687285" sldId="2134806333"/>
            <ac:spMk id="9" creationId="{CD23FEE6-2745-44DB-94A1-F55B9A5050DE}"/>
          </ac:spMkLst>
        </pc:spChg>
        <pc:spChg chg="del">
          <ac:chgData name="STEPANCHENKO, D. (Dmitrii)" userId="30c9d29d-ac41-46ff-b2be-c3f5dd1e26e1" providerId="ADAL" clId="{AECDBD64-E75C-4C05-9678-D3B35BDA44EC}" dt="2023-01-06T11:57:18.636" v="1032" actId="478"/>
          <ac:spMkLst>
            <pc:docMk/>
            <pc:sldMk cId="3444687285" sldId="2134806333"/>
            <ac:spMk id="10" creationId="{52B6EE28-6B94-4077-8B54-07A0416DBEFA}"/>
          </ac:spMkLst>
        </pc:spChg>
        <pc:spChg chg="add mod">
          <ac:chgData name="STEPANCHENKO, D. (Dmitrii)" userId="30c9d29d-ac41-46ff-b2be-c3f5dd1e26e1" providerId="ADAL" clId="{AECDBD64-E75C-4C05-9678-D3B35BDA44EC}" dt="2023-01-06T12:01:34.363" v="1127" actId="21"/>
          <ac:spMkLst>
            <pc:docMk/>
            <pc:sldMk cId="3444687285" sldId="2134806333"/>
            <ac:spMk id="12" creationId="{A833CA0B-9813-40A3-9F29-B963474ED863}"/>
          </ac:spMkLst>
        </pc:spChg>
        <pc:spChg chg="add mod">
          <ac:chgData name="STEPANCHENKO, D. (Dmitrii)" userId="30c9d29d-ac41-46ff-b2be-c3f5dd1e26e1" providerId="ADAL" clId="{AECDBD64-E75C-4C05-9678-D3B35BDA44EC}" dt="2023-01-06T12:54:01.520" v="1275" actId="1076"/>
          <ac:spMkLst>
            <pc:docMk/>
            <pc:sldMk cId="3444687285" sldId="2134806333"/>
            <ac:spMk id="13" creationId="{C59E1761-1832-4C8A-AEEC-6EBF698037A1}"/>
          </ac:spMkLst>
        </pc:spChg>
        <pc:spChg chg="add mod">
          <ac:chgData name="STEPANCHENKO, D. (Dmitrii)" userId="30c9d29d-ac41-46ff-b2be-c3f5dd1e26e1" providerId="ADAL" clId="{AECDBD64-E75C-4C05-9678-D3B35BDA44EC}" dt="2023-01-06T12:09:19.365" v="1244" actId="1076"/>
          <ac:spMkLst>
            <pc:docMk/>
            <pc:sldMk cId="3444687285" sldId="2134806333"/>
            <ac:spMk id="14" creationId="{C7E652B8-53DD-44D4-A5D5-4417DA75FDF5}"/>
          </ac:spMkLst>
        </pc:spChg>
        <pc:spChg chg="add mod">
          <ac:chgData name="STEPANCHENKO, D. (Dmitrii)" userId="30c9d29d-ac41-46ff-b2be-c3f5dd1e26e1" providerId="ADAL" clId="{AECDBD64-E75C-4C05-9678-D3B35BDA44EC}" dt="2023-01-06T12:07:17.334" v="1211" actId="20577"/>
          <ac:spMkLst>
            <pc:docMk/>
            <pc:sldMk cId="3444687285" sldId="2134806333"/>
            <ac:spMk id="15" creationId="{BF8120B5-F542-4E72-B133-D0DAA8717013}"/>
          </ac:spMkLst>
        </pc:spChg>
        <pc:spChg chg="add del mod">
          <ac:chgData name="STEPANCHENKO, D. (Dmitrii)" userId="30c9d29d-ac41-46ff-b2be-c3f5dd1e26e1" providerId="ADAL" clId="{AECDBD64-E75C-4C05-9678-D3B35BDA44EC}" dt="2023-01-06T12:06:05.922" v="1170" actId="478"/>
          <ac:spMkLst>
            <pc:docMk/>
            <pc:sldMk cId="3444687285" sldId="2134806333"/>
            <ac:spMk id="17" creationId="{7922EFD8-753D-4EB1-B87E-0ECA88DB563B}"/>
          </ac:spMkLst>
        </pc:spChg>
        <pc:spChg chg="add mod">
          <ac:chgData name="STEPANCHENKO, D. (Dmitrii)" userId="30c9d29d-ac41-46ff-b2be-c3f5dd1e26e1" providerId="ADAL" clId="{AECDBD64-E75C-4C05-9678-D3B35BDA44EC}" dt="2023-01-06T12:09:37.577" v="1247" actId="14100"/>
          <ac:spMkLst>
            <pc:docMk/>
            <pc:sldMk cId="3444687285" sldId="2134806333"/>
            <ac:spMk id="18" creationId="{B8EC990D-37EF-4A1F-ACC2-10B1FA1A531F}"/>
          </ac:spMkLst>
        </pc:spChg>
        <pc:graphicFrameChg chg="add del mod modGraphic">
          <ac:chgData name="STEPANCHENKO, D. (Dmitrii)" userId="30c9d29d-ac41-46ff-b2be-c3f5dd1e26e1" providerId="ADAL" clId="{AECDBD64-E75C-4C05-9678-D3B35BDA44EC}" dt="2023-01-06T12:01:05.116" v="1103" actId="478"/>
          <ac:graphicFrameMkLst>
            <pc:docMk/>
            <pc:sldMk cId="3444687285" sldId="2134806333"/>
            <ac:graphicFrameMk id="4" creationId="{8D5EFD4F-7DE3-440E-8D43-3CD927E33C72}"/>
          </ac:graphicFrameMkLst>
        </pc:graphicFrameChg>
        <pc:graphicFrameChg chg="add mod">
          <ac:chgData name="STEPANCHENKO, D. (Dmitrii)" userId="30c9d29d-ac41-46ff-b2be-c3f5dd1e26e1" providerId="ADAL" clId="{AECDBD64-E75C-4C05-9678-D3B35BDA44EC}" dt="2023-01-06T12:06:19.985" v="1185" actId="1036"/>
          <ac:graphicFrameMkLst>
            <pc:docMk/>
            <pc:sldMk cId="3444687285" sldId="2134806333"/>
            <ac:graphicFrameMk id="6" creationId="{D9A72080-4A4A-266D-A135-ECD5E1BFB692}"/>
          </ac:graphicFrameMkLst>
        </pc:graphicFrameChg>
        <pc:graphicFrameChg chg="add mod">
          <ac:chgData name="STEPANCHENKO, D. (Dmitrii)" userId="30c9d29d-ac41-46ff-b2be-c3f5dd1e26e1" providerId="ADAL" clId="{AECDBD64-E75C-4C05-9678-D3B35BDA44EC}" dt="2023-01-17T13:16:39.367" v="4773" actId="1076"/>
          <ac:graphicFrameMkLst>
            <pc:docMk/>
            <pc:sldMk cId="3444687285" sldId="2134806333"/>
            <ac:graphicFrameMk id="19" creationId="{AA77DF82-B2FB-4D0B-8779-BCEA943C88B2}"/>
          </ac:graphicFrameMkLst>
        </pc:graphicFrameChg>
        <pc:picChg chg="add mod">
          <ac:chgData name="STEPANCHENKO, D. (Dmitrii)" userId="30c9d29d-ac41-46ff-b2be-c3f5dd1e26e1" providerId="ADAL" clId="{AECDBD64-E75C-4C05-9678-D3B35BDA44EC}" dt="2023-01-06T12:54:12.981" v="1279" actId="14100"/>
          <ac:picMkLst>
            <pc:docMk/>
            <pc:sldMk cId="3444687285" sldId="2134806333"/>
            <ac:picMk id="20" creationId="{9D55DA0E-76E7-4354-9CE5-36B7E462E1CC}"/>
          </ac:picMkLst>
        </pc:picChg>
      </pc:sldChg>
      <pc:sldChg chg="modSp mod">
        <pc:chgData name="STEPANCHENKO, D. (Dmitrii)" userId="30c9d29d-ac41-46ff-b2be-c3f5dd1e26e1" providerId="ADAL" clId="{AECDBD64-E75C-4C05-9678-D3B35BDA44EC}" dt="2023-01-26T14:43:30.003" v="8002" actId="20577"/>
        <pc:sldMkLst>
          <pc:docMk/>
          <pc:sldMk cId="3608721573" sldId="2134806334"/>
        </pc:sldMkLst>
        <pc:spChg chg="mod">
          <ac:chgData name="STEPANCHENKO, D. (Dmitrii)" userId="30c9d29d-ac41-46ff-b2be-c3f5dd1e26e1" providerId="ADAL" clId="{AECDBD64-E75C-4C05-9678-D3B35BDA44EC}" dt="2023-01-26T14:43:30.003" v="8002" actId="20577"/>
          <ac:spMkLst>
            <pc:docMk/>
            <pc:sldMk cId="3608721573" sldId="2134806334"/>
            <ac:spMk id="5" creationId="{81BD1123-3626-1C45-BF5B-1C1864FA8AFA}"/>
          </ac:spMkLst>
        </pc:spChg>
        <pc:spChg chg="mod">
          <ac:chgData name="STEPANCHENKO, D. (Dmitrii)" userId="30c9d29d-ac41-46ff-b2be-c3f5dd1e26e1" providerId="ADAL" clId="{AECDBD64-E75C-4C05-9678-D3B35BDA44EC}" dt="2023-01-26T14:42:30.672" v="7972" actId="20577"/>
          <ac:spMkLst>
            <pc:docMk/>
            <pc:sldMk cId="3608721573" sldId="2134806334"/>
            <ac:spMk id="12" creationId="{0752E6A3-4425-48A0-9570-33BE5F54B45C}"/>
          </ac:spMkLst>
        </pc:spChg>
        <pc:spChg chg="mod">
          <ac:chgData name="STEPANCHENKO, D. (Dmitrii)" userId="30c9d29d-ac41-46ff-b2be-c3f5dd1e26e1" providerId="ADAL" clId="{AECDBD64-E75C-4C05-9678-D3B35BDA44EC}" dt="2023-01-26T14:43:09.089" v="7977" actId="20577"/>
          <ac:spMkLst>
            <pc:docMk/>
            <pc:sldMk cId="3608721573" sldId="2134806334"/>
            <ac:spMk id="14" creationId="{8774A0F6-E177-49B2-90C1-41ECDC52A906}"/>
          </ac:spMkLst>
        </pc:spChg>
      </pc:sldChg>
      <pc:sldChg chg="modSp mod">
        <pc:chgData name="STEPANCHENKO, D. (Dmitrii)" userId="30c9d29d-ac41-46ff-b2be-c3f5dd1e26e1" providerId="ADAL" clId="{AECDBD64-E75C-4C05-9678-D3B35BDA44EC}" dt="2023-01-26T14:47:40.263" v="8016" actId="2164"/>
        <pc:sldMkLst>
          <pc:docMk/>
          <pc:sldMk cId="3429197109" sldId="2134806335"/>
        </pc:sldMkLst>
        <pc:graphicFrameChg chg="mod modGraphic">
          <ac:chgData name="STEPANCHENKO, D. (Dmitrii)" userId="30c9d29d-ac41-46ff-b2be-c3f5dd1e26e1" providerId="ADAL" clId="{AECDBD64-E75C-4C05-9678-D3B35BDA44EC}" dt="2023-01-26T14:47:40.263" v="8016" actId="2164"/>
          <ac:graphicFrameMkLst>
            <pc:docMk/>
            <pc:sldMk cId="3429197109" sldId="2134806335"/>
            <ac:graphicFrameMk id="3" creationId="{3FB1392B-9DAC-40D6-AF12-16AF88B26518}"/>
          </ac:graphicFrameMkLst>
        </pc:graphicFrameChg>
      </pc:sldChg>
      <pc:sldChg chg="addSp delSp modSp mod ord modAnim">
        <pc:chgData name="STEPANCHENKO, D. (Dmitrii)" userId="30c9d29d-ac41-46ff-b2be-c3f5dd1e26e1" providerId="ADAL" clId="{AECDBD64-E75C-4C05-9678-D3B35BDA44EC}" dt="2023-01-26T14:48:26.077" v="8027" actId="20577"/>
        <pc:sldMkLst>
          <pc:docMk/>
          <pc:sldMk cId="1608794076" sldId="2134806336"/>
        </pc:sldMkLst>
        <pc:spChg chg="add mod">
          <ac:chgData name="STEPANCHENKO, D. (Dmitrii)" userId="30c9d29d-ac41-46ff-b2be-c3f5dd1e26e1" providerId="ADAL" clId="{AECDBD64-E75C-4C05-9678-D3B35BDA44EC}" dt="2023-01-26T14:48:26.077" v="8027" actId="20577"/>
          <ac:spMkLst>
            <pc:docMk/>
            <pc:sldMk cId="1608794076" sldId="2134806336"/>
            <ac:spMk id="4" creationId="{5B3042FF-B4B3-4086-A2CA-C21FEA2674C1}"/>
          </ac:spMkLst>
        </pc:spChg>
        <pc:spChg chg="mod">
          <ac:chgData name="STEPANCHENKO, D. (Dmitrii)" userId="30c9d29d-ac41-46ff-b2be-c3f5dd1e26e1" providerId="ADAL" clId="{AECDBD64-E75C-4C05-9678-D3B35BDA44EC}" dt="2023-01-26T14:47:44.138" v="8018" actId="20577"/>
          <ac:spMkLst>
            <pc:docMk/>
            <pc:sldMk cId="1608794076" sldId="2134806336"/>
            <ac:spMk id="5" creationId="{81BD1123-3626-1C45-BF5B-1C1864FA8AFA}"/>
          </ac:spMkLst>
        </pc:spChg>
        <pc:spChg chg="del">
          <ac:chgData name="STEPANCHENKO, D. (Dmitrii)" userId="30c9d29d-ac41-46ff-b2be-c3f5dd1e26e1" providerId="ADAL" clId="{AECDBD64-E75C-4C05-9678-D3B35BDA44EC}" dt="2023-01-06T11:40:04.417" v="355" actId="478"/>
          <ac:spMkLst>
            <pc:docMk/>
            <pc:sldMk cId="1608794076" sldId="2134806336"/>
            <ac:spMk id="10" creationId="{52B6EE28-6B94-4077-8B54-07A0416DBEFA}"/>
          </ac:spMkLst>
        </pc:spChg>
        <pc:graphicFrameChg chg="del">
          <ac:chgData name="STEPANCHENKO, D. (Dmitrii)" userId="30c9d29d-ac41-46ff-b2be-c3f5dd1e26e1" providerId="ADAL" clId="{AECDBD64-E75C-4C05-9678-D3B35BDA44EC}" dt="2023-01-06T11:40:08.592" v="356" actId="478"/>
          <ac:graphicFrameMkLst>
            <pc:docMk/>
            <pc:sldMk cId="1608794076" sldId="2134806336"/>
            <ac:graphicFrameMk id="3" creationId="{14F17274-164C-418B-B125-D92ACA77A98E}"/>
          </ac:graphicFrameMkLst>
        </pc:graphicFrameChg>
        <pc:picChg chg="add mod">
          <ac:chgData name="STEPANCHENKO, D. (Dmitrii)" userId="30c9d29d-ac41-46ff-b2be-c3f5dd1e26e1" providerId="ADAL" clId="{AECDBD64-E75C-4C05-9678-D3B35BDA44EC}" dt="2023-01-26T13:30:10.341" v="7317" actId="1036"/>
          <ac:picMkLst>
            <pc:docMk/>
            <pc:sldMk cId="1608794076" sldId="2134806336"/>
            <ac:picMk id="8" creationId="{0FFAACA2-8C69-4ADF-A6B9-2B8050074E2D}"/>
          </ac:picMkLst>
        </pc:picChg>
      </pc:sldChg>
      <pc:sldChg chg="addSp modSp mod modShow">
        <pc:chgData name="STEPANCHENKO, D. (Dmitrii)" userId="30c9d29d-ac41-46ff-b2be-c3f5dd1e26e1" providerId="ADAL" clId="{AECDBD64-E75C-4C05-9678-D3B35BDA44EC}" dt="2023-01-21T08:06:31.808" v="5668" actId="208"/>
        <pc:sldMkLst>
          <pc:docMk/>
          <pc:sldMk cId="3231236423" sldId="2134806337"/>
        </pc:sldMkLst>
        <pc:spChg chg="add mod">
          <ac:chgData name="STEPANCHENKO, D. (Dmitrii)" userId="30c9d29d-ac41-46ff-b2be-c3f5dd1e26e1" providerId="ADAL" clId="{AECDBD64-E75C-4C05-9678-D3B35BDA44EC}" dt="2023-01-21T08:06:31.808" v="5668" actId="208"/>
          <ac:spMkLst>
            <pc:docMk/>
            <pc:sldMk cId="3231236423" sldId="2134806337"/>
            <ac:spMk id="3" creationId="{D7219301-277D-B3F2-7128-4031D234B954}"/>
          </ac:spMkLst>
        </pc:spChg>
        <pc:spChg chg="add mod">
          <ac:chgData name="STEPANCHENKO, D. (Dmitrii)" userId="30c9d29d-ac41-46ff-b2be-c3f5dd1e26e1" providerId="ADAL" clId="{AECDBD64-E75C-4C05-9678-D3B35BDA44EC}" dt="2023-01-21T08:06:31.808" v="5668" actId="208"/>
          <ac:spMkLst>
            <pc:docMk/>
            <pc:sldMk cId="3231236423" sldId="2134806337"/>
            <ac:spMk id="6" creationId="{D1C09931-A17D-23DD-3C19-05884C2FDE21}"/>
          </ac:spMkLst>
        </pc:spChg>
        <pc:spChg chg="mod">
          <ac:chgData name="STEPANCHENKO, D. (Dmitrii)" userId="30c9d29d-ac41-46ff-b2be-c3f5dd1e26e1" providerId="ADAL" clId="{AECDBD64-E75C-4C05-9678-D3B35BDA44EC}" dt="2023-01-21T08:06:31.808" v="5668" actId="208"/>
          <ac:spMkLst>
            <pc:docMk/>
            <pc:sldMk cId="3231236423" sldId="2134806337"/>
            <ac:spMk id="15" creationId="{AEDD12B7-EF75-4635-9E48-3DA9BFBD6BB8}"/>
          </ac:spMkLst>
        </pc:spChg>
        <pc:picChg chg="mod">
          <ac:chgData name="STEPANCHENKO, D. (Dmitrii)" userId="30c9d29d-ac41-46ff-b2be-c3f5dd1e26e1" providerId="ADAL" clId="{AECDBD64-E75C-4C05-9678-D3B35BDA44EC}" dt="2023-01-21T08:06:05.559" v="5657" actId="1037"/>
          <ac:picMkLst>
            <pc:docMk/>
            <pc:sldMk cId="3231236423" sldId="2134806337"/>
            <ac:picMk id="4" creationId="{39109EAB-2ACB-4AC2-AA98-9595D9FA2C8D}"/>
          </ac:picMkLst>
        </pc:picChg>
        <pc:picChg chg="mod">
          <ac:chgData name="STEPANCHENKO, D. (Dmitrii)" userId="30c9d29d-ac41-46ff-b2be-c3f5dd1e26e1" providerId="ADAL" clId="{AECDBD64-E75C-4C05-9678-D3B35BDA44EC}" dt="2023-01-21T08:06:19.342" v="5666" actId="1036"/>
          <ac:picMkLst>
            <pc:docMk/>
            <pc:sldMk cId="3231236423" sldId="2134806337"/>
            <ac:picMk id="10" creationId="{CC7C69E1-721E-4E62-ABFA-548AF492420D}"/>
          </ac:picMkLst>
        </pc:picChg>
      </pc:sldChg>
      <pc:sldChg chg="mod modShow">
        <pc:chgData name="STEPANCHENKO, D. (Dmitrii)" userId="30c9d29d-ac41-46ff-b2be-c3f5dd1e26e1" providerId="ADAL" clId="{AECDBD64-E75C-4C05-9678-D3B35BDA44EC}" dt="2023-01-28T07:48:47.070" v="8138" actId="729"/>
        <pc:sldMkLst>
          <pc:docMk/>
          <pc:sldMk cId="319979765" sldId="2134806345"/>
        </pc:sldMkLst>
      </pc:sldChg>
      <pc:sldChg chg="mod modShow">
        <pc:chgData name="STEPANCHENKO, D. (Dmitrii)" userId="30c9d29d-ac41-46ff-b2be-c3f5dd1e26e1" providerId="ADAL" clId="{AECDBD64-E75C-4C05-9678-D3B35BDA44EC}" dt="2023-01-28T07:48:47.070" v="8138" actId="729"/>
        <pc:sldMkLst>
          <pc:docMk/>
          <pc:sldMk cId="1623928624" sldId="2134806346"/>
        </pc:sldMkLst>
      </pc:sldChg>
      <pc:sldChg chg="modSp mod">
        <pc:chgData name="STEPANCHENKO, D. (Dmitrii)" userId="30c9d29d-ac41-46ff-b2be-c3f5dd1e26e1" providerId="ADAL" clId="{AECDBD64-E75C-4C05-9678-D3B35BDA44EC}" dt="2023-01-26T14:46:49.740" v="8010" actId="20577"/>
        <pc:sldMkLst>
          <pc:docMk/>
          <pc:sldMk cId="3121307498" sldId="2134806348"/>
        </pc:sldMkLst>
        <pc:graphicFrameChg chg="modGraphic">
          <ac:chgData name="STEPANCHENKO, D. (Dmitrii)" userId="30c9d29d-ac41-46ff-b2be-c3f5dd1e26e1" providerId="ADAL" clId="{AECDBD64-E75C-4C05-9678-D3B35BDA44EC}" dt="2023-01-26T14:46:49.740" v="8010" actId="20577"/>
          <ac:graphicFrameMkLst>
            <pc:docMk/>
            <pc:sldMk cId="3121307498" sldId="2134806348"/>
            <ac:graphicFrameMk id="7" creationId="{6FF43420-5F97-4112-B0D3-FE928926660A}"/>
          </ac:graphicFrameMkLst>
        </pc:graphicFrameChg>
      </pc:sldChg>
      <pc:sldChg chg="addSp delSp modSp mod ord modShow">
        <pc:chgData name="STEPANCHENKO, D. (Dmitrii)" userId="30c9d29d-ac41-46ff-b2be-c3f5dd1e26e1" providerId="ADAL" clId="{AECDBD64-E75C-4C05-9678-D3B35BDA44EC}" dt="2023-01-28T09:22:12.054" v="8181" actId="729"/>
        <pc:sldMkLst>
          <pc:docMk/>
          <pc:sldMk cId="360950131" sldId="2134806349"/>
        </pc:sldMkLst>
        <pc:spChg chg="mod">
          <ac:chgData name="STEPANCHENKO, D. (Dmitrii)" userId="30c9d29d-ac41-46ff-b2be-c3f5dd1e26e1" providerId="ADAL" clId="{AECDBD64-E75C-4C05-9678-D3B35BDA44EC}" dt="2023-01-26T14:23:29.447" v="7783"/>
          <ac:spMkLst>
            <pc:docMk/>
            <pc:sldMk cId="360950131" sldId="2134806349"/>
            <ac:spMk id="3" creationId="{883B87B3-D1D2-4A3B-97F2-6F7840DB0C96}"/>
          </ac:spMkLst>
        </pc:spChg>
        <pc:spChg chg="add mod">
          <ac:chgData name="STEPANCHENKO, D. (Dmitrii)" userId="30c9d29d-ac41-46ff-b2be-c3f5dd1e26e1" providerId="ADAL" clId="{AECDBD64-E75C-4C05-9678-D3B35BDA44EC}" dt="2023-01-26T13:57:50.913" v="7635" actId="1038"/>
          <ac:spMkLst>
            <pc:docMk/>
            <pc:sldMk cId="360950131" sldId="2134806349"/>
            <ac:spMk id="4" creationId="{BAC0D61B-4BC8-4294-82E3-A96FB6065829}"/>
          </ac:spMkLst>
        </pc:spChg>
        <pc:spChg chg="mod">
          <ac:chgData name="STEPANCHENKO, D. (Dmitrii)" userId="30c9d29d-ac41-46ff-b2be-c3f5dd1e26e1" providerId="ADAL" clId="{AECDBD64-E75C-4C05-9678-D3B35BDA44EC}" dt="2023-01-17T12:53:54.050" v="4514" actId="20577"/>
          <ac:spMkLst>
            <pc:docMk/>
            <pc:sldMk cId="360950131" sldId="2134806349"/>
            <ac:spMk id="7" creationId="{9553823D-25F9-4338-8CFF-88676D4B8CD0}"/>
          </ac:spMkLst>
        </pc:spChg>
        <pc:spChg chg="mod">
          <ac:chgData name="STEPANCHENKO, D. (Dmitrii)" userId="30c9d29d-ac41-46ff-b2be-c3f5dd1e26e1" providerId="ADAL" clId="{AECDBD64-E75C-4C05-9678-D3B35BDA44EC}" dt="2023-01-17T12:54:11.263" v="4519" actId="1038"/>
          <ac:spMkLst>
            <pc:docMk/>
            <pc:sldMk cId="360950131" sldId="2134806349"/>
            <ac:spMk id="9" creationId="{F862E89A-04D9-42DC-8E11-7E5508016823}"/>
          </ac:spMkLst>
        </pc:spChg>
        <pc:spChg chg="mod">
          <ac:chgData name="STEPANCHENKO, D. (Dmitrii)" userId="30c9d29d-ac41-46ff-b2be-c3f5dd1e26e1" providerId="ADAL" clId="{AECDBD64-E75C-4C05-9678-D3B35BDA44EC}" dt="2023-01-17T12:54:15.777" v="4531" actId="20577"/>
          <ac:spMkLst>
            <pc:docMk/>
            <pc:sldMk cId="360950131" sldId="2134806349"/>
            <ac:spMk id="11" creationId="{75116657-C492-4787-B89F-2E382C74A770}"/>
          </ac:spMkLst>
        </pc:spChg>
        <pc:spChg chg="add del mod">
          <ac:chgData name="STEPANCHENKO, D. (Dmitrii)" userId="30c9d29d-ac41-46ff-b2be-c3f5dd1e26e1" providerId="ADAL" clId="{AECDBD64-E75C-4C05-9678-D3B35BDA44EC}" dt="2023-01-26T13:57:16.763" v="7624" actId="478"/>
          <ac:spMkLst>
            <pc:docMk/>
            <pc:sldMk cId="360950131" sldId="2134806349"/>
            <ac:spMk id="12" creationId="{B64DCBD3-19A5-ABD9-35A8-193F572CDE11}"/>
          </ac:spMkLst>
        </pc:spChg>
        <pc:spChg chg="del mod">
          <ac:chgData name="STEPANCHENKO, D. (Dmitrii)" userId="30c9d29d-ac41-46ff-b2be-c3f5dd1e26e1" providerId="ADAL" clId="{AECDBD64-E75C-4C05-9678-D3B35BDA44EC}" dt="2023-01-26T14:09:48.064" v="7669" actId="478"/>
          <ac:spMkLst>
            <pc:docMk/>
            <pc:sldMk cId="360950131" sldId="2134806349"/>
            <ac:spMk id="13" creationId="{C3176AA9-79B2-4078-AB48-06CE14816A48}"/>
          </ac:spMkLst>
        </pc:spChg>
        <pc:spChg chg="del">
          <ac:chgData name="STEPANCHENKO, D. (Dmitrii)" userId="30c9d29d-ac41-46ff-b2be-c3f5dd1e26e1" providerId="ADAL" clId="{AECDBD64-E75C-4C05-9678-D3B35BDA44EC}" dt="2023-01-26T14:09:48.064" v="7669" actId="478"/>
          <ac:spMkLst>
            <pc:docMk/>
            <pc:sldMk cId="360950131" sldId="2134806349"/>
            <ac:spMk id="14" creationId="{259EA7A0-89DC-4662-ADF7-A34222303E96}"/>
          </ac:spMkLst>
        </pc:spChg>
        <pc:spChg chg="mod">
          <ac:chgData name="STEPANCHENKO, D. (Dmitrii)" userId="30c9d29d-ac41-46ff-b2be-c3f5dd1e26e1" providerId="ADAL" clId="{AECDBD64-E75C-4C05-9678-D3B35BDA44EC}" dt="2023-01-26T14:09:15.209" v="7645" actId="14100"/>
          <ac:spMkLst>
            <pc:docMk/>
            <pc:sldMk cId="360950131" sldId="2134806349"/>
            <ac:spMk id="15" creationId="{E6217700-48BD-4F57-ABEE-041604653B78}"/>
          </ac:spMkLst>
        </pc:spChg>
        <pc:spChg chg="add mod">
          <ac:chgData name="STEPANCHENKO, D. (Dmitrii)" userId="30c9d29d-ac41-46ff-b2be-c3f5dd1e26e1" providerId="ADAL" clId="{AECDBD64-E75C-4C05-9678-D3B35BDA44EC}" dt="2023-01-26T14:09:43.311" v="7668" actId="14100"/>
          <ac:spMkLst>
            <pc:docMk/>
            <pc:sldMk cId="360950131" sldId="2134806349"/>
            <ac:spMk id="16" creationId="{A8BB7EEB-F8AC-E32E-569B-7EC437158519}"/>
          </ac:spMkLst>
        </pc:spChg>
        <pc:spChg chg="mod">
          <ac:chgData name="STEPANCHENKO, D. (Dmitrii)" userId="30c9d29d-ac41-46ff-b2be-c3f5dd1e26e1" providerId="ADAL" clId="{AECDBD64-E75C-4C05-9678-D3B35BDA44EC}" dt="2023-01-26T14:09:39.466" v="7667" actId="1038"/>
          <ac:spMkLst>
            <pc:docMk/>
            <pc:sldMk cId="360950131" sldId="2134806349"/>
            <ac:spMk id="23" creationId="{5DED1613-F425-403B-900C-6746670A4E2E}"/>
          </ac:spMkLst>
        </pc:spChg>
        <pc:spChg chg="del mod">
          <ac:chgData name="STEPANCHENKO, D. (Dmitrii)" userId="30c9d29d-ac41-46ff-b2be-c3f5dd1e26e1" providerId="ADAL" clId="{AECDBD64-E75C-4C05-9678-D3B35BDA44EC}" dt="2023-01-17T12:58:38.544" v="4624" actId="478"/>
          <ac:spMkLst>
            <pc:docMk/>
            <pc:sldMk cId="360950131" sldId="2134806349"/>
            <ac:spMk id="24" creationId="{C56E59CD-596D-4481-96B1-A5922026B5E6}"/>
          </ac:spMkLst>
        </pc:spChg>
        <pc:spChg chg="mod">
          <ac:chgData name="STEPANCHENKO, D. (Dmitrii)" userId="30c9d29d-ac41-46ff-b2be-c3f5dd1e26e1" providerId="ADAL" clId="{AECDBD64-E75C-4C05-9678-D3B35BDA44EC}" dt="2023-01-26T13:56:23.100" v="7609" actId="20577"/>
          <ac:spMkLst>
            <pc:docMk/>
            <pc:sldMk cId="360950131" sldId="2134806349"/>
            <ac:spMk id="25" creationId="{3791451D-F1FF-4866-BEE7-76DB3C40E6CC}"/>
          </ac:spMkLst>
        </pc:spChg>
        <pc:cxnChg chg="add mod">
          <ac:chgData name="STEPANCHENKO, D. (Dmitrii)" userId="30c9d29d-ac41-46ff-b2be-c3f5dd1e26e1" providerId="ADAL" clId="{AECDBD64-E75C-4C05-9678-D3B35BDA44EC}" dt="2023-01-26T13:56:34.835" v="7610" actId="14100"/>
          <ac:cxnSpMkLst>
            <pc:docMk/>
            <pc:sldMk cId="360950131" sldId="2134806349"/>
            <ac:cxnSpMk id="8" creationId="{50A4123E-541B-474D-9568-5BE95CF43030}"/>
          </ac:cxnSpMkLst>
        </pc:cxnChg>
        <pc:cxnChg chg="mod">
          <ac:chgData name="STEPANCHENKO, D. (Dmitrii)" userId="30c9d29d-ac41-46ff-b2be-c3f5dd1e26e1" providerId="ADAL" clId="{AECDBD64-E75C-4C05-9678-D3B35BDA44EC}" dt="2023-01-26T14:09:15.209" v="7645" actId="14100"/>
          <ac:cxnSpMkLst>
            <pc:docMk/>
            <pc:sldMk cId="360950131" sldId="2134806349"/>
            <ac:cxnSpMk id="17" creationId="{3EE0A07F-DE4D-4BE0-AC12-E01AFA9531B8}"/>
          </ac:cxnSpMkLst>
        </pc:cxnChg>
        <pc:cxnChg chg="add del mod">
          <ac:chgData name="STEPANCHENKO, D. (Dmitrii)" userId="30c9d29d-ac41-46ff-b2be-c3f5dd1e26e1" providerId="ADAL" clId="{AECDBD64-E75C-4C05-9678-D3B35BDA44EC}" dt="2023-01-26T13:57:18.828" v="7625" actId="478"/>
          <ac:cxnSpMkLst>
            <pc:docMk/>
            <pc:sldMk cId="360950131" sldId="2134806349"/>
            <ac:cxnSpMk id="18" creationId="{A8984EF4-3E3A-59DB-F150-36DCF82A6E24}"/>
          </ac:cxnSpMkLst>
        </pc:cxnChg>
      </pc:sldChg>
      <pc:sldChg chg="addSp delSp modSp add mod delAnim">
        <pc:chgData name="STEPANCHENKO, D. (Dmitrii)" userId="30c9d29d-ac41-46ff-b2be-c3f5dd1e26e1" providerId="ADAL" clId="{AECDBD64-E75C-4C05-9678-D3B35BDA44EC}" dt="2023-01-11T18:04:40.555" v="3890" actId="207"/>
        <pc:sldMkLst>
          <pc:docMk/>
          <pc:sldMk cId="2759589870" sldId="2134806350"/>
        </pc:sldMkLst>
        <pc:spChg chg="mod">
          <ac:chgData name="STEPANCHENKO, D. (Dmitrii)" userId="30c9d29d-ac41-46ff-b2be-c3f5dd1e26e1" providerId="ADAL" clId="{AECDBD64-E75C-4C05-9678-D3B35BDA44EC}" dt="2023-01-10T17:42:46.304" v="1860" actId="207"/>
          <ac:spMkLst>
            <pc:docMk/>
            <pc:sldMk cId="2759589870" sldId="2134806350"/>
            <ac:spMk id="2" creationId="{00000000-0000-0000-0000-000000000000}"/>
          </ac:spMkLst>
        </pc:spChg>
        <pc:spChg chg="del mod">
          <ac:chgData name="STEPANCHENKO, D. (Dmitrii)" userId="30c9d29d-ac41-46ff-b2be-c3f5dd1e26e1" providerId="ADAL" clId="{AECDBD64-E75C-4C05-9678-D3B35BDA44EC}" dt="2023-01-10T17:35:41.419" v="1334" actId="478"/>
          <ac:spMkLst>
            <pc:docMk/>
            <pc:sldMk cId="2759589870" sldId="2134806350"/>
            <ac:spMk id="4" creationId="{5B3042FF-B4B3-4086-A2CA-C21FEA2674C1}"/>
          </ac:spMkLst>
        </pc:spChg>
        <pc:spChg chg="mod">
          <ac:chgData name="STEPANCHENKO, D. (Dmitrii)" userId="30c9d29d-ac41-46ff-b2be-c3f5dd1e26e1" providerId="ADAL" clId="{AECDBD64-E75C-4C05-9678-D3B35BDA44EC}" dt="2023-01-11T17:06:34.402" v="2606" actId="20577"/>
          <ac:spMkLst>
            <pc:docMk/>
            <pc:sldMk cId="2759589870" sldId="2134806350"/>
            <ac:spMk id="5" creationId="{81BD1123-3626-1C45-BF5B-1C1864FA8AFA}"/>
          </ac:spMkLst>
        </pc:spChg>
        <pc:spChg chg="del">
          <ac:chgData name="STEPANCHENKO, D. (Dmitrii)" userId="30c9d29d-ac41-46ff-b2be-c3f5dd1e26e1" providerId="ADAL" clId="{AECDBD64-E75C-4C05-9678-D3B35BDA44EC}" dt="2023-01-10T17:24:01.892" v="1281" actId="478"/>
          <ac:spMkLst>
            <pc:docMk/>
            <pc:sldMk cId="2759589870" sldId="2134806350"/>
            <ac:spMk id="7" creationId="{123EC169-7644-486C-8036-F709D2DAEAF0}"/>
          </ac:spMkLst>
        </pc:spChg>
        <pc:spChg chg="add mod">
          <ac:chgData name="STEPANCHENKO, D. (Dmitrii)" userId="30c9d29d-ac41-46ff-b2be-c3f5dd1e26e1" providerId="ADAL" clId="{AECDBD64-E75C-4C05-9678-D3B35BDA44EC}" dt="2023-01-10T17:55:26.467" v="2508" actId="20577"/>
          <ac:spMkLst>
            <pc:docMk/>
            <pc:sldMk cId="2759589870" sldId="2134806350"/>
            <ac:spMk id="16" creationId="{C7BB59C7-6FCB-4656-9DA6-0EFB7D8DE9F6}"/>
          </ac:spMkLst>
        </pc:spChg>
        <pc:spChg chg="add mod">
          <ac:chgData name="STEPANCHENKO, D. (Dmitrii)" userId="30c9d29d-ac41-46ff-b2be-c3f5dd1e26e1" providerId="ADAL" clId="{AECDBD64-E75C-4C05-9678-D3B35BDA44EC}" dt="2023-01-11T17:16:48.222" v="2816" actId="208"/>
          <ac:spMkLst>
            <pc:docMk/>
            <pc:sldMk cId="2759589870" sldId="2134806350"/>
            <ac:spMk id="19" creationId="{3D98BB4E-4B9D-436D-BEDF-E9ABAC4F3A5F}"/>
          </ac:spMkLst>
        </pc:spChg>
        <pc:spChg chg="add mod">
          <ac:chgData name="STEPANCHENKO, D. (Dmitrii)" userId="30c9d29d-ac41-46ff-b2be-c3f5dd1e26e1" providerId="ADAL" clId="{AECDBD64-E75C-4C05-9678-D3B35BDA44EC}" dt="2023-01-10T17:52:27.360" v="2370"/>
          <ac:spMkLst>
            <pc:docMk/>
            <pc:sldMk cId="2759589870" sldId="2134806350"/>
            <ac:spMk id="23" creationId="{79C697E4-9D80-48F3-9380-11306DD6B7BA}"/>
          </ac:spMkLst>
        </pc:spChg>
        <pc:spChg chg="add mod">
          <ac:chgData name="STEPANCHENKO, D. (Dmitrii)" userId="30c9d29d-ac41-46ff-b2be-c3f5dd1e26e1" providerId="ADAL" clId="{AECDBD64-E75C-4C05-9678-D3B35BDA44EC}" dt="2023-01-11T18:04:29.961" v="3887" actId="208"/>
          <ac:spMkLst>
            <pc:docMk/>
            <pc:sldMk cId="2759589870" sldId="2134806350"/>
            <ac:spMk id="24" creationId="{AC22F2D7-F662-4426-B19B-BE46B45582F9}"/>
          </ac:spMkLst>
        </pc:spChg>
        <pc:spChg chg="add mod">
          <ac:chgData name="STEPANCHENKO, D. (Dmitrii)" userId="30c9d29d-ac41-46ff-b2be-c3f5dd1e26e1" providerId="ADAL" clId="{AECDBD64-E75C-4C05-9678-D3B35BDA44EC}" dt="2023-01-10T17:56:56.163" v="2590" actId="1076"/>
          <ac:spMkLst>
            <pc:docMk/>
            <pc:sldMk cId="2759589870" sldId="2134806350"/>
            <ac:spMk id="25" creationId="{CFF448CA-972F-4E02-B230-AFFFA39D9CE3}"/>
          </ac:spMkLst>
        </pc:spChg>
        <pc:graphicFrameChg chg="add mod">
          <ac:chgData name="STEPANCHENKO, D. (Dmitrii)" userId="30c9d29d-ac41-46ff-b2be-c3f5dd1e26e1" providerId="ADAL" clId="{AECDBD64-E75C-4C05-9678-D3B35BDA44EC}" dt="2023-01-11T18:04:40.555" v="3890" actId="207"/>
          <ac:graphicFrameMkLst>
            <pc:docMk/>
            <pc:sldMk cId="2759589870" sldId="2134806350"/>
            <ac:graphicFrameMk id="9" creationId="{91A8818E-71FE-43C6-9D03-22D974473735}"/>
          </ac:graphicFrameMkLst>
        </pc:graphicFrameChg>
        <pc:picChg chg="del">
          <ac:chgData name="STEPANCHENKO, D. (Dmitrii)" userId="30c9d29d-ac41-46ff-b2be-c3f5dd1e26e1" providerId="ADAL" clId="{AECDBD64-E75C-4C05-9678-D3B35BDA44EC}" dt="2023-01-10T17:24:03.894" v="1282" actId="478"/>
          <ac:picMkLst>
            <pc:docMk/>
            <pc:sldMk cId="2759589870" sldId="2134806350"/>
            <ac:picMk id="8" creationId="{0FFAACA2-8C69-4ADF-A6B9-2B8050074E2D}"/>
          </ac:picMkLst>
        </pc:picChg>
        <pc:cxnChg chg="add mod">
          <ac:chgData name="STEPANCHENKO, D. (Dmitrii)" userId="30c9d29d-ac41-46ff-b2be-c3f5dd1e26e1" providerId="ADAL" clId="{AECDBD64-E75C-4C05-9678-D3B35BDA44EC}" dt="2023-01-10T17:55:00.846" v="2502" actId="1036"/>
          <ac:cxnSpMkLst>
            <pc:docMk/>
            <pc:sldMk cId="2759589870" sldId="2134806350"/>
            <ac:cxnSpMk id="6" creationId="{CB7C328B-7A05-4AEC-A787-CD4ECE7AFB6E}"/>
          </ac:cxnSpMkLst>
        </pc:cxnChg>
        <pc:cxnChg chg="add mod">
          <ac:chgData name="STEPANCHENKO, D. (Dmitrii)" userId="30c9d29d-ac41-46ff-b2be-c3f5dd1e26e1" providerId="ADAL" clId="{AECDBD64-E75C-4C05-9678-D3B35BDA44EC}" dt="2023-01-10T17:54:52.625" v="2494" actId="1037"/>
          <ac:cxnSpMkLst>
            <pc:docMk/>
            <pc:sldMk cId="2759589870" sldId="2134806350"/>
            <ac:cxnSpMk id="12" creationId="{4797622E-9141-486A-A8F9-F357C924153B}"/>
          </ac:cxnSpMkLst>
        </pc:cxnChg>
        <pc:cxnChg chg="add mod">
          <ac:chgData name="STEPANCHENKO, D. (Dmitrii)" userId="30c9d29d-ac41-46ff-b2be-c3f5dd1e26e1" providerId="ADAL" clId="{AECDBD64-E75C-4C05-9678-D3B35BDA44EC}" dt="2023-01-10T17:55:03.759" v="2506" actId="1037"/>
          <ac:cxnSpMkLst>
            <pc:docMk/>
            <pc:sldMk cId="2759589870" sldId="2134806350"/>
            <ac:cxnSpMk id="15" creationId="{9F153B35-FCCC-42D3-9C7D-6208D3A9F6D0}"/>
          </ac:cxnSpMkLst>
        </pc:cxnChg>
        <pc:cxnChg chg="add mod">
          <ac:chgData name="STEPANCHENKO, D. (Dmitrii)" userId="30c9d29d-ac41-46ff-b2be-c3f5dd1e26e1" providerId="ADAL" clId="{AECDBD64-E75C-4C05-9678-D3B35BDA44EC}" dt="2023-01-10T17:50:19.613" v="2185" actId="1035"/>
          <ac:cxnSpMkLst>
            <pc:docMk/>
            <pc:sldMk cId="2759589870" sldId="2134806350"/>
            <ac:cxnSpMk id="18" creationId="{217C915B-15F1-4992-B9BE-77406282C0C2}"/>
          </ac:cxnSpMkLst>
        </pc:cxnChg>
        <pc:cxnChg chg="add mod">
          <ac:chgData name="STEPANCHENKO, D. (Dmitrii)" userId="30c9d29d-ac41-46ff-b2be-c3f5dd1e26e1" providerId="ADAL" clId="{AECDBD64-E75C-4C05-9678-D3B35BDA44EC}" dt="2023-01-10T17:54:36.800" v="2442" actId="1038"/>
          <ac:cxnSpMkLst>
            <pc:docMk/>
            <pc:sldMk cId="2759589870" sldId="2134806350"/>
            <ac:cxnSpMk id="20" creationId="{66E140BE-003D-4683-9606-EBCA10243B56}"/>
          </ac:cxnSpMkLst>
        </pc:cxnChg>
        <pc:cxnChg chg="add mod">
          <ac:chgData name="STEPANCHENKO, D. (Dmitrii)" userId="30c9d29d-ac41-46ff-b2be-c3f5dd1e26e1" providerId="ADAL" clId="{AECDBD64-E75C-4C05-9678-D3B35BDA44EC}" dt="2023-01-11T18:04:29.961" v="3887" actId="208"/>
          <ac:cxnSpMkLst>
            <pc:docMk/>
            <pc:sldMk cId="2759589870" sldId="2134806350"/>
            <ac:cxnSpMk id="21" creationId="{7672E221-8CF1-48EF-BAE7-0D19358E5323}"/>
          </ac:cxnSpMkLst>
        </pc:cxnChg>
        <pc:cxnChg chg="add mod">
          <ac:chgData name="STEPANCHENKO, D. (Dmitrii)" userId="30c9d29d-ac41-46ff-b2be-c3f5dd1e26e1" providerId="ADAL" clId="{AECDBD64-E75C-4C05-9678-D3B35BDA44EC}" dt="2023-01-11T18:04:29.961" v="3887" actId="208"/>
          <ac:cxnSpMkLst>
            <pc:docMk/>
            <pc:sldMk cId="2759589870" sldId="2134806350"/>
            <ac:cxnSpMk id="22" creationId="{8C84693E-5F4E-4729-B966-471A481F3524}"/>
          </ac:cxnSpMkLst>
        </pc:cxnChg>
      </pc:sldChg>
      <pc:sldChg chg="add del">
        <pc:chgData name="STEPANCHENKO, D. (Dmitrii)" userId="30c9d29d-ac41-46ff-b2be-c3f5dd1e26e1" providerId="ADAL" clId="{AECDBD64-E75C-4C05-9678-D3B35BDA44EC}" dt="2023-01-05T11:46:45.826" v="1" actId="47"/>
        <pc:sldMkLst>
          <pc:docMk/>
          <pc:sldMk cId="3319432739" sldId="2134806350"/>
        </pc:sldMkLst>
      </pc:sldChg>
      <pc:sldChg chg="addSp delSp modSp add mod ord modAnim">
        <pc:chgData name="STEPANCHENKO, D. (Dmitrii)" userId="30c9d29d-ac41-46ff-b2be-c3f5dd1e26e1" providerId="ADAL" clId="{AECDBD64-E75C-4C05-9678-D3B35BDA44EC}" dt="2023-01-11T17:25:19.858" v="3014" actId="20577"/>
        <pc:sldMkLst>
          <pc:docMk/>
          <pc:sldMk cId="853866529" sldId="2134806351"/>
        </pc:sldMkLst>
        <pc:spChg chg="add mod">
          <ac:chgData name="STEPANCHENKO, D. (Dmitrii)" userId="30c9d29d-ac41-46ff-b2be-c3f5dd1e26e1" providerId="ADAL" clId="{AECDBD64-E75C-4C05-9678-D3B35BDA44EC}" dt="2023-01-11T17:17:27.691" v="2829" actId="1036"/>
          <ac:spMkLst>
            <pc:docMk/>
            <pc:sldMk cId="853866529" sldId="2134806351"/>
            <ac:spMk id="3" creationId="{3BE7636F-1243-4E0B-8D51-F122D728B419}"/>
          </ac:spMkLst>
        </pc:spChg>
        <pc:spChg chg="mod">
          <ac:chgData name="STEPANCHENKO, D. (Dmitrii)" userId="30c9d29d-ac41-46ff-b2be-c3f5dd1e26e1" providerId="ADAL" clId="{AECDBD64-E75C-4C05-9678-D3B35BDA44EC}" dt="2023-01-11T17:25:19.858" v="3014" actId="20577"/>
          <ac:spMkLst>
            <pc:docMk/>
            <pc:sldMk cId="853866529" sldId="2134806351"/>
            <ac:spMk id="5" creationId="{81BD1123-3626-1C45-BF5B-1C1864FA8AFA}"/>
          </ac:spMkLst>
        </pc:spChg>
        <pc:spChg chg="del">
          <ac:chgData name="STEPANCHENKO, D. (Dmitrii)" userId="30c9d29d-ac41-46ff-b2be-c3f5dd1e26e1" providerId="ADAL" clId="{AECDBD64-E75C-4C05-9678-D3B35BDA44EC}" dt="2023-01-11T16:58:50.181" v="2592" actId="478"/>
          <ac:spMkLst>
            <pc:docMk/>
            <pc:sldMk cId="853866529" sldId="2134806351"/>
            <ac:spMk id="16" creationId="{C7BB59C7-6FCB-4656-9DA6-0EFB7D8DE9F6}"/>
          </ac:spMkLst>
        </pc:spChg>
        <pc:spChg chg="del">
          <ac:chgData name="STEPANCHENKO, D. (Dmitrii)" userId="30c9d29d-ac41-46ff-b2be-c3f5dd1e26e1" providerId="ADAL" clId="{AECDBD64-E75C-4C05-9678-D3B35BDA44EC}" dt="2023-01-11T16:58:50.181" v="2592" actId="478"/>
          <ac:spMkLst>
            <pc:docMk/>
            <pc:sldMk cId="853866529" sldId="2134806351"/>
            <ac:spMk id="19" creationId="{3D98BB4E-4B9D-436D-BEDF-E9ABAC4F3A5F}"/>
          </ac:spMkLst>
        </pc:spChg>
        <pc:spChg chg="add del mod">
          <ac:chgData name="STEPANCHENKO, D. (Dmitrii)" userId="30c9d29d-ac41-46ff-b2be-c3f5dd1e26e1" providerId="ADAL" clId="{AECDBD64-E75C-4C05-9678-D3B35BDA44EC}" dt="2023-01-11T17:13:02.319" v="2669" actId="478"/>
          <ac:spMkLst>
            <pc:docMk/>
            <pc:sldMk cId="853866529" sldId="2134806351"/>
            <ac:spMk id="23" creationId="{F7422600-0448-4A69-92C2-CB7DF9814577}"/>
          </ac:spMkLst>
        </pc:spChg>
        <pc:spChg chg="del">
          <ac:chgData name="STEPANCHENKO, D. (Dmitrii)" userId="30c9d29d-ac41-46ff-b2be-c3f5dd1e26e1" providerId="ADAL" clId="{AECDBD64-E75C-4C05-9678-D3B35BDA44EC}" dt="2023-01-11T16:58:50.181" v="2592" actId="478"/>
          <ac:spMkLst>
            <pc:docMk/>
            <pc:sldMk cId="853866529" sldId="2134806351"/>
            <ac:spMk id="24" creationId="{AC22F2D7-F662-4426-B19B-BE46B45582F9}"/>
          </ac:spMkLst>
        </pc:spChg>
        <pc:spChg chg="del">
          <ac:chgData name="STEPANCHENKO, D. (Dmitrii)" userId="30c9d29d-ac41-46ff-b2be-c3f5dd1e26e1" providerId="ADAL" clId="{AECDBD64-E75C-4C05-9678-D3B35BDA44EC}" dt="2023-01-11T16:58:56.605" v="2595" actId="478"/>
          <ac:spMkLst>
            <pc:docMk/>
            <pc:sldMk cId="853866529" sldId="2134806351"/>
            <ac:spMk id="25" creationId="{CFF448CA-972F-4E02-B230-AFFFA39D9CE3}"/>
          </ac:spMkLst>
        </pc:spChg>
        <pc:spChg chg="add mod">
          <ac:chgData name="STEPANCHENKO, D. (Dmitrii)" userId="30c9d29d-ac41-46ff-b2be-c3f5dd1e26e1" providerId="ADAL" clId="{AECDBD64-E75C-4C05-9678-D3B35BDA44EC}" dt="2023-01-11T17:17:23.345" v="2821" actId="1076"/>
          <ac:spMkLst>
            <pc:docMk/>
            <pc:sldMk cId="853866529" sldId="2134806351"/>
            <ac:spMk id="26" creationId="{EA1672C4-2CB1-4557-ACFE-942418292B7F}"/>
          </ac:spMkLst>
        </pc:spChg>
        <pc:spChg chg="add mod">
          <ac:chgData name="STEPANCHENKO, D. (Dmitrii)" userId="30c9d29d-ac41-46ff-b2be-c3f5dd1e26e1" providerId="ADAL" clId="{AECDBD64-E75C-4C05-9678-D3B35BDA44EC}" dt="2023-01-11T17:17:27.691" v="2829" actId="1036"/>
          <ac:spMkLst>
            <pc:docMk/>
            <pc:sldMk cId="853866529" sldId="2134806351"/>
            <ac:spMk id="27" creationId="{A5CBA71D-9F97-491B-B724-48626DE4DA3B}"/>
          </ac:spMkLst>
        </pc:spChg>
        <pc:spChg chg="add mod">
          <ac:chgData name="STEPANCHENKO, D. (Dmitrii)" userId="30c9d29d-ac41-46ff-b2be-c3f5dd1e26e1" providerId="ADAL" clId="{AECDBD64-E75C-4C05-9678-D3B35BDA44EC}" dt="2023-01-11T17:17:27.691" v="2829" actId="1036"/>
          <ac:spMkLst>
            <pc:docMk/>
            <pc:sldMk cId="853866529" sldId="2134806351"/>
            <ac:spMk id="28" creationId="{1100877E-E3A1-4275-8BC4-BC80CF55428B}"/>
          </ac:spMkLst>
        </pc:spChg>
        <pc:spChg chg="add mod">
          <ac:chgData name="STEPANCHENKO, D. (Dmitrii)" userId="30c9d29d-ac41-46ff-b2be-c3f5dd1e26e1" providerId="ADAL" clId="{AECDBD64-E75C-4C05-9678-D3B35BDA44EC}" dt="2023-01-11T17:17:37.977" v="2832" actId="1076"/>
          <ac:spMkLst>
            <pc:docMk/>
            <pc:sldMk cId="853866529" sldId="2134806351"/>
            <ac:spMk id="30" creationId="{1C945C46-2903-442B-AFE6-3BDCA1A34F65}"/>
          </ac:spMkLst>
        </pc:spChg>
        <pc:spChg chg="add mod">
          <ac:chgData name="STEPANCHENKO, D. (Dmitrii)" userId="30c9d29d-ac41-46ff-b2be-c3f5dd1e26e1" providerId="ADAL" clId="{AECDBD64-E75C-4C05-9678-D3B35BDA44EC}" dt="2023-01-11T17:17:27.691" v="2829" actId="1036"/>
          <ac:spMkLst>
            <pc:docMk/>
            <pc:sldMk cId="853866529" sldId="2134806351"/>
            <ac:spMk id="31" creationId="{17D27AF9-8AE3-462C-849B-F22D1AF57A3C}"/>
          </ac:spMkLst>
        </pc:spChg>
        <pc:spChg chg="add mod">
          <ac:chgData name="STEPANCHENKO, D. (Dmitrii)" userId="30c9d29d-ac41-46ff-b2be-c3f5dd1e26e1" providerId="ADAL" clId="{AECDBD64-E75C-4C05-9678-D3B35BDA44EC}" dt="2023-01-11T17:17:27.691" v="2829" actId="1036"/>
          <ac:spMkLst>
            <pc:docMk/>
            <pc:sldMk cId="853866529" sldId="2134806351"/>
            <ac:spMk id="32" creationId="{34966F64-340C-4DA4-8E69-1654537D6289}"/>
          </ac:spMkLst>
        </pc:spChg>
        <pc:spChg chg="add mod">
          <ac:chgData name="STEPANCHENKO, D. (Dmitrii)" userId="30c9d29d-ac41-46ff-b2be-c3f5dd1e26e1" providerId="ADAL" clId="{AECDBD64-E75C-4C05-9678-D3B35BDA44EC}" dt="2023-01-11T17:17:27.691" v="2829" actId="1036"/>
          <ac:spMkLst>
            <pc:docMk/>
            <pc:sldMk cId="853866529" sldId="2134806351"/>
            <ac:spMk id="33" creationId="{5A9A2580-48AF-4A52-8037-DDDE8845D865}"/>
          </ac:spMkLst>
        </pc:spChg>
        <pc:graphicFrameChg chg="del mod">
          <ac:chgData name="STEPANCHENKO, D. (Dmitrii)" userId="30c9d29d-ac41-46ff-b2be-c3f5dd1e26e1" providerId="ADAL" clId="{AECDBD64-E75C-4C05-9678-D3B35BDA44EC}" dt="2023-01-11T16:58:54.109" v="2594" actId="478"/>
          <ac:graphicFrameMkLst>
            <pc:docMk/>
            <pc:sldMk cId="853866529" sldId="2134806351"/>
            <ac:graphicFrameMk id="9" creationId="{91A8818E-71FE-43C6-9D03-22D974473735}"/>
          </ac:graphicFrameMkLst>
        </pc:graphicFrameChg>
        <pc:picChg chg="add mod">
          <ac:chgData name="STEPANCHENKO, D. (Dmitrii)" userId="30c9d29d-ac41-46ff-b2be-c3f5dd1e26e1" providerId="ADAL" clId="{AECDBD64-E75C-4C05-9678-D3B35BDA44EC}" dt="2023-01-11T17:17:51.927" v="2835" actId="14100"/>
          <ac:picMkLst>
            <pc:docMk/>
            <pc:sldMk cId="853866529" sldId="2134806351"/>
            <ac:picMk id="7" creationId="{4244002E-6BD0-4CEE-B5AC-E6318B205A4C}"/>
          </ac:picMkLst>
        </pc:picChg>
        <pc:cxnChg chg="del">
          <ac:chgData name="STEPANCHENKO, D. (Dmitrii)" userId="30c9d29d-ac41-46ff-b2be-c3f5dd1e26e1" providerId="ADAL" clId="{AECDBD64-E75C-4C05-9678-D3B35BDA44EC}" dt="2023-01-11T16:58:50.181" v="2592" actId="478"/>
          <ac:cxnSpMkLst>
            <pc:docMk/>
            <pc:sldMk cId="853866529" sldId="2134806351"/>
            <ac:cxnSpMk id="6" creationId="{CB7C328B-7A05-4AEC-A787-CD4ECE7AFB6E}"/>
          </ac:cxnSpMkLst>
        </pc:cxnChg>
        <pc:cxnChg chg="del">
          <ac:chgData name="STEPANCHENKO, D. (Dmitrii)" userId="30c9d29d-ac41-46ff-b2be-c3f5dd1e26e1" providerId="ADAL" clId="{AECDBD64-E75C-4C05-9678-D3B35BDA44EC}" dt="2023-01-11T16:58:50.181" v="2592" actId="478"/>
          <ac:cxnSpMkLst>
            <pc:docMk/>
            <pc:sldMk cId="853866529" sldId="2134806351"/>
            <ac:cxnSpMk id="12" creationId="{4797622E-9141-486A-A8F9-F357C924153B}"/>
          </ac:cxnSpMkLst>
        </pc:cxnChg>
        <pc:cxnChg chg="del">
          <ac:chgData name="STEPANCHENKO, D. (Dmitrii)" userId="30c9d29d-ac41-46ff-b2be-c3f5dd1e26e1" providerId="ADAL" clId="{AECDBD64-E75C-4C05-9678-D3B35BDA44EC}" dt="2023-01-11T16:58:50.181" v="2592" actId="478"/>
          <ac:cxnSpMkLst>
            <pc:docMk/>
            <pc:sldMk cId="853866529" sldId="2134806351"/>
            <ac:cxnSpMk id="15" creationId="{9F153B35-FCCC-42D3-9C7D-6208D3A9F6D0}"/>
          </ac:cxnSpMkLst>
        </pc:cxnChg>
        <pc:cxnChg chg="add mod">
          <ac:chgData name="STEPANCHENKO, D. (Dmitrii)" userId="30c9d29d-ac41-46ff-b2be-c3f5dd1e26e1" providerId="ADAL" clId="{AECDBD64-E75C-4C05-9678-D3B35BDA44EC}" dt="2023-01-11T17:17:27.691" v="2829" actId="1036"/>
          <ac:cxnSpMkLst>
            <pc:docMk/>
            <pc:sldMk cId="853866529" sldId="2134806351"/>
            <ac:cxnSpMk id="17" creationId="{20DFEBAE-BC9B-4B59-833D-C4FD382B19EE}"/>
          </ac:cxnSpMkLst>
        </pc:cxnChg>
        <pc:cxnChg chg="del">
          <ac:chgData name="STEPANCHENKO, D. (Dmitrii)" userId="30c9d29d-ac41-46ff-b2be-c3f5dd1e26e1" providerId="ADAL" clId="{AECDBD64-E75C-4C05-9678-D3B35BDA44EC}" dt="2023-01-11T16:58:50.181" v="2592" actId="478"/>
          <ac:cxnSpMkLst>
            <pc:docMk/>
            <pc:sldMk cId="853866529" sldId="2134806351"/>
            <ac:cxnSpMk id="18" creationId="{217C915B-15F1-4992-B9BE-77406282C0C2}"/>
          </ac:cxnSpMkLst>
        </pc:cxnChg>
        <pc:cxnChg chg="del">
          <ac:chgData name="STEPANCHENKO, D. (Dmitrii)" userId="30c9d29d-ac41-46ff-b2be-c3f5dd1e26e1" providerId="ADAL" clId="{AECDBD64-E75C-4C05-9678-D3B35BDA44EC}" dt="2023-01-11T16:58:50.181" v="2592" actId="478"/>
          <ac:cxnSpMkLst>
            <pc:docMk/>
            <pc:sldMk cId="853866529" sldId="2134806351"/>
            <ac:cxnSpMk id="20" creationId="{66E140BE-003D-4683-9606-EBCA10243B56}"/>
          </ac:cxnSpMkLst>
        </pc:cxnChg>
        <pc:cxnChg chg="del">
          <ac:chgData name="STEPANCHENKO, D. (Dmitrii)" userId="30c9d29d-ac41-46ff-b2be-c3f5dd1e26e1" providerId="ADAL" clId="{AECDBD64-E75C-4C05-9678-D3B35BDA44EC}" dt="2023-01-11T16:58:50.181" v="2592" actId="478"/>
          <ac:cxnSpMkLst>
            <pc:docMk/>
            <pc:sldMk cId="853866529" sldId="2134806351"/>
            <ac:cxnSpMk id="21" creationId="{7672E221-8CF1-48EF-BAE7-0D19358E5323}"/>
          </ac:cxnSpMkLst>
        </pc:cxnChg>
        <pc:cxnChg chg="del">
          <ac:chgData name="STEPANCHENKO, D. (Dmitrii)" userId="30c9d29d-ac41-46ff-b2be-c3f5dd1e26e1" providerId="ADAL" clId="{AECDBD64-E75C-4C05-9678-D3B35BDA44EC}" dt="2023-01-11T16:58:50.181" v="2592" actId="478"/>
          <ac:cxnSpMkLst>
            <pc:docMk/>
            <pc:sldMk cId="853866529" sldId="2134806351"/>
            <ac:cxnSpMk id="22" creationId="{8C84693E-5F4E-4729-B966-471A481F3524}"/>
          </ac:cxnSpMkLst>
        </pc:cxnChg>
        <pc:cxnChg chg="add mod">
          <ac:chgData name="STEPANCHENKO, D. (Dmitrii)" userId="30c9d29d-ac41-46ff-b2be-c3f5dd1e26e1" providerId="ADAL" clId="{AECDBD64-E75C-4C05-9678-D3B35BDA44EC}" dt="2023-01-11T17:17:27.691" v="2829" actId="1036"/>
          <ac:cxnSpMkLst>
            <pc:docMk/>
            <pc:sldMk cId="853866529" sldId="2134806351"/>
            <ac:cxnSpMk id="29" creationId="{E058FA45-4AA2-486C-B4A2-48DB749EC2FC}"/>
          </ac:cxnSpMkLst>
        </pc:cxnChg>
      </pc:sldChg>
      <pc:sldChg chg="addSp delSp modSp add mod">
        <pc:chgData name="STEPANCHENKO, D. (Dmitrii)" userId="30c9d29d-ac41-46ff-b2be-c3f5dd1e26e1" providerId="ADAL" clId="{AECDBD64-E75C-4C05-9678-D3B35BDA44EC}" dt="2023-01-26T15:09:06.002" v="8029" actId="20577"/>
        <pc:sldMkLst>
          <pc:docMk/>
          <pc:sldMk cId="1653022067" sldId="2134806352"/>
        </pc:sldMkLst>
        <pc:spChg chg="add mod">
          <ac:chgData name="STEPANCHENKO, D. (Dmitrii)" userId="30c9d29d-ac41-46ff-b2be-c3f5dd1e26e1" providerId="ADAL" clId="{AECDBD64-E75C-4C05-9678-D3B35BDA44EC}" dt="2023-01-11T17:22:38.954" v="2992" actId="14100"/>
          <ac:spMkLst>
            <pc:docMk/>
            <pc:sldMk cId="1653022067" sldId="2134806352"/>
            <ac:spMk id="4" creationId="{6325E7AC-67F9-40EF-B869-4829645F24AC}"/>
          </ac:spMkLst>
        </pc:spChg>
        <pc:spChg chg="mod">
          <ac:chgData name="STEPANCHENKO, D. (Dmitrii)" userId="30c9d29d-ac41-46ff-b2be-c3f5dd1e26e1" providerId="ADAL" clId="{AECDBD64-E75C-4C05-9678-D3B35BDA44EC}" dt="2023-01-11T18:14:54.360" v="4056" actId="20577"/>
          <ac:spMkLst>
            <pc:docMk/>
            <pc:sldMk cId="1653022067" sldId="2134806352"/>
            <ac:spMk id="5" creationId="{81BD1123-3626-1C45-BF5B-1C1864FA8AFA}"/>
          </ac:spMkLst>
        </pc:spChg>
        <pc:spChg chg="add del mod">
          <ac:chgData name="STEPANCHENKO, D. (Dmitrii)" userId="30c9d29d-ac41-46ff-b2be-c3f5dd1e26e1" providerId="ADAL" clId="{AECDBD64-E75C-4C05-9678-D3B35BDA44EC}" dt="2023-01-11T17:28:39.252" v="3071" actId="478"/>
          <ac:spMkLst>
            <pc:docMk/>
            <pc:sldMk cId="1653022067" sldId="2134806352"/>
            <ac:spMk id="6" creationId="{90B8FBE2-3BC9-48C4-897E-5F24F8A3FF49}"/>
          </ac:spMkLst>
        </pc:spChg>
        <pc:spChg chg="add del mod">
          <ac:chgData name="STEPANCHENKO, D. (Dmitrii)" userId="30c9d29d-ac41-46ff-b2be-c3f5dd1e26e1" providerId="ADAL" clId="{AECDBD64-E75C-4C05-9678-D3B35BDA44EC}" dt="2023-01-11T17:28:39.252" v="3071" actId="478"/>
          <ac:spMkLst>
            <pc:docMk/>
            <pc:sldMk cId="1653022067" sldId="2134806352"/>
            <ac:spMk id="7" creationId="{40031392-E1B0-4F54-828D-718F91A5B177}"/>
          </ac:spMkLst>
        </pc:spChg>
        <pc:spChg chg="add del mod">
          <ac:chgData name="STEPANCHENKO, D. (Dmitrii)" userId="30c9d29d-ac41-46ff-b2be-c3f5dd1e26e1" providerId="ADAL" clId="{AECDBD64-E75C-4C05-9678-D3B35BDA44EC}" dt="2023-01-11T17:35:20.195" v="3247"/>
          <ac:spMkLst>
            <pc:docMk/>
            <pc:sldMk cId="1653022067" sldId="2134806352"/>
            <ac:spMk id="13" creationId="{70DB52B0-EEF5-4282-A06D-880B401482D2}"/>
          </ac:spMkLst>
        </pc:spChg>
        <pc:spChg chg="add del mod">
          <ac:chgData name="STEPANCHENKO, D. (Dmitrii)" userId="30c9d29d-ac41-46ff-b2be-c3f5dd1e26e1" providerId="ADAL" clId="{AECDBD64-E75C-4C05-9678-D3B35BDA44EC}" dt="2023-01-11T17:47:33.240" v="3367" actId="21"/>
          <ac:spMkLst>
            <pc:docMk/>
            <pc:sldMk cId="1653022067" sldId="2134806352"/>
            <ac:spMk id="24" creationId="{FD9B878D-BEC9-4B3D-9F29-8ED4F54DCCB5}"/>
          </ac:spMkLst>
        </pc:spChg>
        <pc:spChg chg="add del mod">
          <ac:chgData name="STEPANCHENKO, D. (Dmitrii)" userId="30c9d29d-ac41-46ff-b2be-c3f5dd1e26e1" providerId="ADAL" clId="{AECDBD64-E75C-4C05-9678-D3B35BDA44EC}" dt="2023-01-11T17:47:33.240" v="3367" actId="21"/>
          <ac:spMkLst>
            <pc:docMk/>
            <pc:sldMk cId="1653022067" sldId="2134806352"/>
            <ac:spMk id="25" creationId="{3CEF257D-F073-4F0C-901A-0BF77B4F3C82}"/>
          </ac:spMkLst>
        </pc:spChg>
        <pc:spChg chg="add mod">
          <ac:chgData name="STEPANCHENKO, D. (Dmitrii)" userId="30c9d29d-ac41-46ff-b2be-c3f5dd1e26e1" providerId="ADAL" clId="{AECDBD64-E75C-4C05-9678-D3B35BDA44EC}" dt="2023-01-26T15:09:06.002" v="8029" actId="20577"/>
          <ac:spMkLst>
            <pc:docMk/>
            <pc:sldMk cId="1653022067" sldId="2134806352"/>
            <ac:spMk id="29" creationId="{B489BCEE-C2F1-49C1-977B-A9DD12656A59}"/>
          </ac:spMkLst>
        </pc:spChg>
        <pc:graphicFrameChg chg="add mod modGraphic">
          <ac:chgData name="STEPANCHENKO, D. (Dmitrii)" userId="30c9d29d-ac41-46ff-b2be-c3f5dd1e26e1" providerId="ADAL" clId="{AECDBD64-E75C-4C05-9678-D3B35BDA44EC}" dt="2023-01-11T18:13:33.404" v="4042" actId="14100"/>
          <ac:graphicFrameMkLst>
            <pc:docMk/>
            <pc:sldMk cId="1653022067" sldId="2134806352"/>
            <ac:graphicFrameMk id="3" creationId="{B6B98FA0-3239-47C0-81D7-073FC6C4F4D7}"/>
          </ac:graphicFrameMkLst>
        </pc:graphicFrameChg>
        <pc:graphicFrameChg chg="add mod modGraphic">
          <ac:chgData name="STEPANCHENKO, D. (Dmitrii)" userId="30c9d29d-ac41-46ff-b2be-c3f5dd1e26e1" providerId="ADAL" clId="{AECDBD64-E75C-4C05-9678-D3B35BDA44EC}" dt="2023-01-11T18:07:33.585" v="3933" actId="20577"/>
          <ac:graphicFrameMkLst>
            <pc:docMk/>
            <pc:sldMk cId="1653022067" sldId="2134806352"/>
            <ac:graphicFrameMk id="12" creationId="{6B6B6F5A-FC3E-4007-93A3-F1D7F737D82D}"/>
          </ac:graphicFrameMkLst>
        </pc:graphicFrameChg>
        <pc:graphicFrameChg chg="add del mod">
          <ac:chgData name="STEPANCHENKO, D. (Dmitrii)" userId="30c9d29d-ac41-46ff-b2be-c3f5dd1e26e1" providerId="ADAL" clId="{AECDBD64-E75C-4C05-9678-D3B35BDA44EC}" dt="2023-01-11T17:37:05.077" v="3287" actId="478"/>
          <ac:graphicFrameMkLst>
            <pc:docMk/>
            <pc:sldMk cId="1653022067" sldId="2134806352"/>
            <ac:graphicFrameMk id="17" creationId="{5349C688-AA9A-4F07-B5A2-1F33EC6A09F3}"/>
          </ac:graphicFrameMkLst>
        </pc:graphicFrameChg>
        <pc:graphicFrameChg chg="add del mod modGraphic">
          <ac:chgData name="STEPANCHENKO, D. (Dmitrii)" userId="30c9d29d-ac41-46ff-b2be-c3f5dd1e26e1" providerId="ADAL" clId="{AECDBD64-E75C-4C05-9678-D3B35BDA44EC}" dt="2023-01-11T17:53:40.613" v="3471" actId="478"/>
          <ac:graphicFrameMkLst>
            <pc:docMk/>
            <pc:sldMk cId="1653022067" sldId="2134806352"/>
            <ac:graphicFrameMk id="18" creationId="{234934C6-7F8A-4484-BE2D-30E67B753AB5}"/>
          </ac:graphicFrameMkLst>
        </pc:graphicFrameChg>
        <pc:graphicFrameChg chg="add del mod modGraphic">
          <ac:chgData name="STEPANCHENKO, D. (Dmitrii)" userId="30c9d29d-ac41-46ff-b2be-c3f5dd1e26e1" providerId="ADAL" clId="{AECDBD64-E75C-4C05-9678-D3B35BDA44EC}" dt="2023-01-11T17:48:12.873" v="3374" actId="478"/>
          <ac:graphicFrameMkLst>
            <pc:docMk/>
            <pc:sldMk cId="1653022067" sldId="2134806352"/>
            <ac:graphicFrameMk id="21" creationId="{EDA3E5E9-070F-41D5-8A5E-38B6B7355F51}"/>
          </ac:graphicFrameMkLst>
        </pc:graphicFrameChg>
        <pc:graphicFrameChg chg="add mod modGraphic">
          <ac:chgData name="STEPANCHENKO, D. (Dmitrii)" userId="30c9d29d-ac41-46ff-b2be-c3f5dd1e26e1" providerId="ADAL" clId="{AECDBD64-E75C-4C05-9678-D3B35BDA44EC}" dt="2023-01-21T07:49:33.286" v="5652" actId="20577"/>
          <ac:graphicFrameMkLst>
            <pc:docMk/>
            <pc:sldMk cId="1653022067" sldId="2134806352"/>
            <ac:graphicFrameMk id="26" creationId="{B853135D-39E0-4256-A89F-69B04ED5396F}"/>
          </ac:graphicFrameMkLst>
        </pc:graphicFrameChg>
        <pc:graphicFrameChg chg="add mod modGraphic">
          <ac:chgData name="STEPANCHENKO, D. (Dmitrii)" userId="30c9d29d-ac41-46ff-b2be-c3f5dd1e26e1" providerId="ADAL" clId="{AECDBD64-E75C-4C05-9678-D3B35BDA44EC}" dt="2023-01-11T18:13:09.436" v="4039" actId="20577"/>
          <ac:graphicFrameMkLst>
            <pc:docMk/>
            <pc:sldMk cId="1653022067" sldId="2134806352"/>
            <ac:graphicFrameMk id="27" creationId="{EF916E41-6838-46F8-88F0-E74262BAFA6C}"/>
          </ac:graphicFrameMkLst>
        </pc:graphicFrameChg>
        <pc:picChg chg="add del mod">
          <ac:chgData name="STEPANCHENKO, D. (Dmitrii)" userId="30c9d29d-ac41-46ff-b2be-c3f5dd1e26e1" providerId="ADAL" clId="{AECDBD64-E75C-4C05-9678-D3B35BDA44EC}" dt="2023-01-11T17:47:33.240" v="3367" actId="21"/>
          <ac:picMkLst>
            <pc:docMk/>
            <pc:sldMk cId="1653022067" sldId="2134806352"/>
            <ac:picMk id="23" creationId="{C9C62BA3-063E-4F75-A545-9D9814D29613}"/>
          </ac:picMkLst>
        </pc:picChg>
        <pc:cxnChg chg="add mod">
          <ac:chgData name="STEPANCHENKO, D. (Dmitrii)" userId="30c9d29d-ac41-46ff-b2be-c3f5dd1e26e1" providerId="ADAL" clId="{AECDBD64-E75C-4C05-9678-D3B35BDA44EC}" dt="2023-01-11T17:36:26.941" v="3264" actId="14100"/>
          <ac:cxnSpMkLst>
            <pc:docMk/>
            <pc:sldMk cId="1653022067" sldId="2134806352"/>
            <ac:cxnSpMk id="9" creationId="{A7784EA8-D314-46D3-BDD8-432996BABF19}"/>
          </ac:cxnSpMkLst>
        </pc:cxnChg>
        <pc:cxnChg chg="add mod">
          <ac:chgData name="STEPANCHENKO, D. (Dmitrii)" userId="30c9d29d-ac41-46ff-b2be-c3f5dd1e26e1" providerId="ADAL" clId="{AECDBD64-E75C-4C05-9678-D3B35BDA44EC}" dt="2023-01-11T17:36:22.095" v="3263" actId="14100"/>
          <ac:cxnSpMkLst>
            <pc:docMk/>
            <pc:sldMk cId="1653022067" sldId="2134806352"/>
            <ac:cxnSpMk id="11" creationId="{1129C815-3EDF-40C2-87D2-34D9C0FEB2A0}"/>
          </ac:cxnSpMkLst>
        </pc:cxnChg>
      </pc:sldChg>
      <pc:sldChg chg="addSp delSp modSp add mod">
        <pc:chgData name="STEPANCHENKO, D. (Dmitrii)" userId="30c9d29d-ac41-46ff-b2be-c3f5dd1e26e1" providerId="ADAL" clId="{AECDBD64-E75C-4C05-9678-D3B35BDA44EC}" dt="2023-01-11T18:14:31.363" v="4054" actId="20577"/>
        <pc:sldMkLst>
          <pc:docMk/>
          <pc:sldMk cId="3668568787" sldId="2134806353"/>
        </pc:sldMkLst>
        <pc:spChg chg="mod">
          <ac:chgData name="STEPANCHENKO, D. (Dmitrii)" userId="30c9d29d-ac41-46ff-b2be-c3f5dd1e26e1" providerId="ADAL" clId="{AECDBD64-E75C-4C05-9678-D3B35BDA44EC}" dt="2023-01-11T18:14:31.363" v="4054" actId="20577"/>
          <ac:spMkLst>
            <pc:docMk/>
            <pc:sldMk cId="3668568787" sldId="2134806353"/>
            <ac:spMk id="5" creationId="{81BD1123-3626-1C45-BF5B-1C1864FA8AFA}"/>
          </ac:spMkLst>
        </pc:spChg>
        <pc:spChg chg="add mod">
          <ac:chgData name="STEPANCHENKO, D. (Dmitrii)" userId="30c9d29d-ac41-46ff-b2be-c3f5dd1e26e1" providerId="ADAL" clId="{AECDBD64-E75C-4C05-9678-D3B35BDA44EC}" dt="2023-01-11T17:50:53.863" v="3460" actId="1076"/>
          <ac:spMkLst>
            <pc:docMk/>
            <pc:sldMk cId="3668568787" sldId="2134806353"/>
            <ac:spMk id="6" creationId="{643608F7-1E7A-4F80-A9AD-FF9BFDDEC112}"/>
          </ac:spMkLst>
        </pc:spChg>
        <pc:spChg chg="add mod">
          <ac:chgData name="STEPANCHENKO, D. (Dmitrii)" userId="30c9d29d-ac41-46ff-b2be-c3f5dd1e26e1" providerId="ADAL" clId="{AECDBD64-E75C-4C05-9678-D3B35BDA44EC}" dt="2023-01-11T17:50:44.187" v="3459" actId="1076"/>
          <ac:spMkLst>
            <pc:docMk/>
            <pc:sldMk cId="3668568787" sldId="2134806353"/>
            <ac:spMk id="7" creationId="{0731D363-EF78-44C6-8ACE-46AC66811586}"/>
          </ac:spMkLst>
        </pc:spChg>
        <pc:picChg chg="add del mod">
          <ac:chgData name="STEPANCHENKO, D. (Dmitrii)" userId="30c9d29d-ac41-46ff-b2be-c3f5dd1e26e1" providerId="ADAL" clId="{AECDBD64-E75C-4C05-9678-D3B35BDA44EC}" dt="2023-01-11T17:50:03.177" v="3452" actId="478"/>
          <ac:picMkLst>
            <pc:docMk/>
            <pc:sldMk cId="3668568787" sldId="2134806353"/>
            <ac:picMk id="4" creationId="{5E6B07FD-36D6-49F2-AC50-26CF78FDFEED}"/>
          </ac:picMkLst>
        </pc:picChg>
        <pc:picChg chg="add mod ord">
          <ac:chgData name="STEPANCHENKO, D. (Dmitrii)" userId="30c9d29d-ac41-46ff-b2be-c3f5dd1e26e1" providerId="ADAL" clId="{AECDBD64-E75C-4C05-9678-D3B35BDA44EC}" dt="2023-01-11T17:50:41.628" v="3458" actId="167"/>
          <ac:picMkLst>
            <pc:docMk/>
            <pc:sldMk cId="3668568787" sldId="2134806353"/>
            <ac:picMk id="8" creationId="{DC57F71B-64C1-4228-81BC-5B865113477A}"/>
          </ac:picMkLst>
        </pc:picChg>
      </pc:sldChg>
      <pc:sldChg chg="add">
        <pc:chgData name="STEPANCHENKO, D. (Dmitrii)" userId="30c9d29d-ac41-46ff-b2be-c3f5dd1e26e1" providerId="ADAL" clId="{AECDBD64-E75C-4C05-9678-D3B35BDA44EC}" dt="2023-01-11T16:59:00.775" v="2598"/>
        <pc:sldMkLst>
          <pc:docMk/>
          <pc:sldMk cId="1098944605" sldId="2134806354"/>
        </pc:sldMkLst>
      </pc:sldChg>
      <pc:sldChg chg="addSp delSp modSp add del mod">
        <pc:chgData name="STEPANCHENKO, D. (Dmitrii)" userId="30c9d29d-ac41-46ff-b2be-c3f5dd1e26e1" providerId="ADAL" clId="{AECDBD64-E75C-4C05-9678-D3B35BDA44EC}" dt="2023-01-26T13:26:16.636" v="7038" actId="47"/>
        <pc:sldMkLst>
          <pc:docMk/>
          <pc:sldMk cId="1872100274" sldId="2134806355"/>
        </pc:sldMkLst>
        <pc:spChg chg="mod">
          <ac:chgData name="STEPANCHENKO, D. (Dmitrii)" userId="30c9d29d-ac41-46ff-b2be-c3f5dd1e26e1" providerId="ADAL" clId="{AECDBD64-E75C-4C05-9678-D3B35BDA44EC}" dt="2023-01-26T13:25:55.714" v="7027" actId="20577"/>
          <ac:spMkLst>
            <pc:docMk/>
            <pc:sldMk cId="1872100274" sldId="2134806355"/>
            <ac:spMk id="5" creationId="{81BD1123-3626-1C45-BF5B-1C1864FA8AFA}"/>
          </ac:spMkLst>
        </pc:spChg>
        <pc:spChg chg="add del mod">
          <ac:chgData name="STEPANCHENKO, D. (Dmitrii)" userId="30c9d29d-ac41-46ff-b2be-c3f5dd1e26e1" providerId="ADAL" clId="{AECDBD64-E75C-4C05-9678-D3B35BDA44EC}" dt="2023-01-26T13:26:12.860" v="7037"/>
          <ac:spMkLst>
            <pc:docMk/>
            <pc:sldMk cId="1872100274" sldId="2134806355"/>
            <ac:spMk id="6" creationId="{7304A516-7872-1BDB-C272-35B46237BDC5}"/>
          </ac:spMkLst>
        </pc:spChg>
        <pc:spChg chg="del">
          <ac:chgData name="STEPANCHENKO, D. (Dmitrii)" userId="30c9d29d-ac41-46ff-b2be-c3f5dd1e26e1" providerId="ADAL" clId="{AECDBD64-E75C-4C05-9678-D3B35BDA44EC}" dt="2023-01-26T13:25:50.192" v="7023" actId="478"/>
          <ac:spMkLst>
            <pc:docMk/>
            <pc:sldMk cId="1872100274" sldId="2134806355"/>
            <ac:spMk id="9" creationId="{17E51F88-4398-76C0-3DF9-8503C88BEBE1}"/>
          </ac:spMkLst>
        </pc:spChg>
        <pc:graphicFrameChg chg="del">
          <ac:chgData name="STEPANCHENKO, D. (Dmitrii)" userId="30c9d29d-ac41-46ff-b2be-c3f5dd1e26e1" providerId="ADAL" clId="{AECDBD64-E75C-4C05-9678-D3B35BDA44EC}" dt="2023-01-26T13:25:50.192" v="7023" actId="478"/>
          <ac:graphicFrameMkLst>
            <pc:docMk/>
            <pc:sldMk cId="1872100274" sldId="2134806355"/>
            <ac:graphicFrameMk id="3" creationId="{A12E7895-C2CC-4F97-8797-1EDFDB6BAB8A}"/>
          </ac:graphicFrameMkLst>
        </pc:graphicFrameChg>
        <pc:graphicFrameChg chg="del">
          <ac:chgData name="STEPANCHENKO, D. (Dmitrii)" userId="30c9d29d-ac41-46ff-b2be-c3f5dd1e26e1" providerId="ADAL" clId="{AECDBD64-E75C-4C05-9678-D3B35BDA44EC}" dt="2023-01-26T13:25:50.192" v="7023" actId="478"/>
          <ac:graphicFrameMkLst>
            <pc:docMk/>
            <pc:sldMk cId="1872100274" sldId="2134806355"/>
            <ac:graphicFrameMk id="8" creationId="{1A4ACF02-C0D9-4956-8284-1CE9DD6E2608}"/>
          </ac:graphicFrameMkLst>
        </pc:graphicFrameChg>
      </pc:sldChg>
    </pc:docChg>
  </pc:docChgLst>
  <pc:docChgLst>
    <pc:chgData name="STEPANCHENKO, D. (Dmitrii)" userId="30c9d29d-ac41-46ff-b2be-c3f5dd1e26e1" providerId="ADAL" clId="{F1089F27-2CA7-4F6B-AF97-026CBAF4CD7A}"/>
    <pc:docChg chg="undo custSel addSld delSld modSld sldOrd modSection">
      <pc:chgData name="STEPANCHENKO, D. (Dmitrii)" userId="30c9d29d-ac41-46ff-b2be-c3f5dd1e26e1" providerId="ADAL" clId="{F1089F27-2CA7-4F6B-AF97-026CBAF4CD7A}" dt="2023-02-20T18:51:08.536" v="13643" actId="20577"/>
      <pc:docMkLst>
        <pc:docMk/>
      </pc:docMkLst>
      <pc:sldChg chg="modSp add del mod">
        <pc:chgData name="STEPANCHENKO, D. (Dmitrii)" userId="30c9d29d-ac41-46ff-b2be-c3f5dd1e26e1" providerId="ADAL" clId="{F1089F27-2CA7-4F6B-AF97-026CBAF4CD7A}" dt="2023-02-12T14:17:08.866" v="5120" actId="47"/>
        <pc:sldMkLst>
          <pc:docMk/>
          <pc:sldMk cId="1919997396" sldId="11065"/>
        </pc:sldMkLst>
        <pc:spChg chg="mod">
          <ac:chgData name="STEPANCHENKO, D. (Dmitrii)" userId="30c9d29d-ac41-46ff-b2be-c3f5dd1e26e1" providerId="ADAL" clId="{F1089F27-2CA7-4F6B-AF97-026CBAF4CD7A}" dt="2023-02-12T13:36:21.114" v="4730" actId="27636"/>
          <ac:spMkLst>
            <pc:docMk/>
            <pc:sldMk cId="1919997396" sldId="11065"/>
            <ac:spMk id="11" creationId="{24FD4DA9-DC7D-4926-B6C0-DDB34A58A5F4}"/>
          </ac:spMkLst>
        </pc:spChg>
        <pc:spChg chg="mod">
          <ac:chgData name="STEPANCHENKO, D. (Dmitrii)" userId="30c9d29d-ac41-46ff-b2be-c3f5dd1e26e1" providerId="ADAL" clId="{F1089F27-2CA7-4F6B-AF97-026CBAF4CD7A}" dt="2023-02-12T13:36:21.121" v="4732" actId="27636"/>
          <ac:spMkLst>
            <pc:docMk/>
            <pc:sldMk cId="1919997396" sldId="11065"/>
            <ac:spMk id="15" creationId="{9068F231-D344-41D9-9428-8F8AD350B5DB}"/>
          </ac:spMkLst>
        </pc:spChg>
        <pc:spChg chg="mod">
          <ac:chgData name="STEPANCHENKO, D. (Dmitrii)" userId="30c9d29d-ac41-46ff-b2be-c3f5dd1e26e1" providerId="ADAL" clId="{F1089F27-2CA7-4F6B-AF97-026CBAF4CD7A}" dt="2023-02-12T13:36:21.116" v="4731" actId="27636"/>
          <ac:spMkLst>
            <pc:docMk/>
            <pc:sldMk cId="1919997396" sldId="11065"/>
            <ac:spMk id="16" creationId="{6A506AEA-4DBC-484E-A104-1A795F0DEF0D}"/>
          </ac:spMkLst>
        </pc:spChg>
      </pc:sldChg>
      <pc:sldChg chg="addSp delSp modSp add mod">
        <pc:chgData name="STEPANCHENKO, D. (Dmitrii)" userId="30c9d29d-ac41-46ff-b2be-c3f5dd1e26e1" providerId="ADAL" clId="{F1089F27-2CA7-4F6B-AF97-026CBAF4CD7A}" dt="2023-02-12T11:30:43.520" v="3536" actId="1076"/>
        <pc:sldMkLst>
          <pc:docMk/>
          <pc:sldMk cId="1880343008" sldId="2134806241"/>
        </pc:sldMkLst>
        <pc:spChg chg="del mod">
          <ac:chgData name="STEPANCHENKO, D. (Dmitrii)" userId="30c9d29d-ac41-46ff-b2be-c3f5dd1e26e1" providerId="ADAL" clId="{F1089F27-2CA7-4F6B-AF97-026CBAF4CD7A}" dt="2023-02-12T11:30:13.626" v="3527" actId="478"/>
          <ac:spMkLst>
            <pc:docMk/>
            <pc:sldMk cId="1880343008" sldId="2134806241"/>
            <ac:spMk id="3" creationId="{81BD1123-3626-1C45-BF5B-1C1864FA8AFA}"/>
          </ac:spMkLst>
        </pc:spChg>
        <pc:spChg chg="add mod">
          <ac:chgData name="STEPANCHENKO, D. (Dmitrii)" userId="30c9d29d-ac41-46ff-b2be-c3f5dd1e26e1" providerId="ADAL" clId="{F1089F27-2CA7-4F6B-AF97-026CBAF4CD7A}" dt="2023-02-12T11:30:20.525" v="3529" actId="14100"/>
          <ac:spMkLst>
            <pc:docMk/>
            <pc:sldMk cId="1880343008" sldId="2134806241"/>
            <ac:spMk id="6" creationId="{DA130926-BAA7-BB2F-DAEC-71DCCFC45801}"/>
          </ac:spMkLst>
        </pc:spChg>
        <pc:picChg chg="del">
          <ac:chgData name="STEPANCHENKO, D. (Dmitrii)" userId="30c9d29d-ac41-46ff-b2be-c3f5dd1e26e1" providerId="ADAL" clId="{F1089F27-2CA7-4F6B-AF97-026CBAF4CD7A}" dt="2023-02-12T10:53:42.950" v="3038" actId="478"/>
          <ac:picMkLst>
            <pc:docMk/>
            <pc:sldMk cId="1880343008" sldId="2134806241"/>
            <ac:picMk id="4" creationId="{00000000-0000-0000-0000-000000000000}"/>
          </ac:picMkLst>
        </pc:picChg>
        <pc:picChg chg="add mod">
          <ac:chgData name="STEPANCHENKO, D. (Dmitrii)" userId="30c9d29d-ac41-46ff-b2be-c3f5dd1e26e1" providerId="ADAL" clId="{F1089F27-2CA7-4F6B-AF97-026CBAF4CD7A}" dt="2023-02-12T11:30:43.520" v="3536" actId="1076"/>
          <ac:picMkLst>
            <pc:docMk/>
            <pc:sldMk cId="1880343008" sldId="2134806241"/>
            <ac:picMk id="7" creationId="{51F75B49-D11B-9DB5-BB5C-77281F231475}"/>
          </ac:picMkLst>
        </pc:picChg>
        <pc:picChg chg="add mod">
          <ac:chgData name="STEPANCHENKO, D. (Dmitrii)" userId="30c9d29d-ac41-46ff-b2be-c3f5dd1e26e1" providerId="ADAL" clId="{F1089F27-2CA7-4F6B-AF97-026CBAF4CD7A}" dt="2023-02-12T11:30:39.575" v="3534" actId="1076"/>
          <ac:picMkLst>
            <pc:docMk/>
            <pc:sldMk cId="1880343008" sldId="2134806241"/>
            <ac:picMk id="8" creationId="{D2553FFC-FA84-2DFC-98DE-52BAB70E7BC2}"/>
          </ac:picMkLst>
        </pc:picChg>
      </pc:sldChg>
      <pc:sldChg chg="del">
        <pc:chgData name="STEPANCHENKO, D. (Dmitrii)" userId="30c9d29d-ac41-46ff-b2be-c3f5dd1e26e1" providerId="ADAL" clId="{F1089F27-2CA7-4F6B-AF97-026CBAF4CD7A}" dt="2023-02-10T14:16:03.878" v="550" actId="47"/>
        <pc:sldMkLst>
          <pc:docMk/>
          <pc:sldMk cId="1150082579" sldId="2134806261"/>
        </pc:sldMkLst>
      </pc:sldChg>
      <pc:sldChg chg="del">
        <pc:chgData name="STEPANCHENKO, D. (Dmitrii)" userId="30c9d29d-ac41-46ff-b2be-c3f5dd1e26e1" providerId="ADAL" clId="{F1089F27-2CA7-4F6B-AF97-026CBAF4CD7A}" dt="2023-02-10T14:12:18.826" v="52" actId="47"/>
        <pc:sldMkLst>
          <pc:docMk/>
          <pc:sldMk cId="826615147" sldId="2134806265"/>
        </pc:sldMkLst>
      </pc:sldChg>
      <pc:sldChg chg="addSp delSp modSp add mod ord">
        <pc:chgData name="STEPANCHENKO, D. (Dmitrii)" userId="30c9d29d-ac41-46ff-b2be-c3f5dd1e26e1" providerId="ADAL" clId="{F1089F27-2CA7-4F6B-AF97-026CBAF4CD7A}" dt="2023-02-20T18:48:07.538" v="13523" actId="20577"/>
        <pc:sldMkLst>
          <pc:docMk/>
          <pc:sldMk cId="2463351118" sldId="2134806269"/>
        </pc:sldMkLst>
        <pc:spChg chg="mod">
          <ac:chgData name="STEPANCHENKO, D. (Dmitrii)" userId="30c9d29d-ac41-46ff-b2be-c3f5dd1e26e1" providerId="ADAL" clId="{F1089F27-2CA7-4F6B-AF97-026CBAF4CD7A}" dt="2023-02-20T18:48:07.538" v="13523" actId="20577"/>
          <ac:spMkLst>
            <pc:docMk/>
            <pc:sldMk cId="2463351118" sldId="2134806269"/>
            <ac:spMk id="3" creationId="{81BD1123-3626-1C45-BF5B-1C1864FA8AFA}"/>
          </ac:spMkLst>
        </pc:spChg>
        <pc:spChg chg="add del mod">
          <ac:chgData name="STEPANCHENKO, D. (Dmitrii)" userId="30c9d29d-ac41-46ff-b2be-c3f5dd1e26e1" providerId="ADAL" clId="{F1089F27-2CA7-4F6B-AF97-026CBAF4CD7A}" dt="2023-02-19T12:41:36.931" v="10758" actId="478"/>
          <ac:spMkLst>
            <pc:docMk/>
            <pc:sldMk cId="2463351118" sldId="2134806269"/>
            <ac:spMk id="4" creationId="{D4D0A45E-609F-22F8-13FB-E0F196467DFA}"/>
          </ac:spMkLst>
        </pc:spChg>
        <pc:spChg chg="add mod">
          <ac:chgData name="STEPANCHENKO, D. (Dmitrii)" userId="30c9d29d-ac41-46ff-b2be-c3f5dd1e26e1" providerId="ADAL" clId="{F1089F27-2CA7-4F6B-AF97-026CBAF4CD7A}" dt="2023-02-19T12:42:20.371" v="10770" actId="1036"/>
          <ac:spMkLst>
            <pc:docMk/>
            <pc:sldMk cId="2463351118" sldId="2134806269"/>
            <ac:spMk id="5" creationId="{CA48A249-AD36-EB3A-0992-6DCB17BA4518}"/>
          </ac:spMkLst>
        </pc:spChg>
        <pc:spChg chg="mod">
          <ac:chgData name="STEPANCHENKO, D. (Dmitrii)" userId="30c9d29d-ac41-46ff-b2be-c3f5dd1e26e1" providerId="ADAL" clId="{F1089F27-2CA7-4F6B-AF97-026CBAF4CD7A}" dt="2023-02-13T17:49:36.690" v="7145" actId="20577"/>
          <ac:spMkLst>
            <pc:docMk/>
            <pc:sldMk cId="2463351118" sldId="2134806269"/>
            <ac:spMk id="35" creationId="{CC58600E-0CF1-5A74-5B14-B84F00CE3853}"/>
          </ac:spMkLst>
        </pc:spChg>
        <pc:spChg chg="mod">
          <ac:chgData name="STEPANCHENKO, D. (Dmitrii)" userId="30c9d29d-ac41-46ff-b2be-c3f5dd1e26e1" providerId="ADAL" clId="{F1089F27-2CA7-4F6B-AF97-026CBAF4CD7A}" dt="2023-02-17T16:03:15.708" v="7903" actId="1035"/>
          <ac:spMkLst>
            <pc:docMk/>
            <pc:sldMk cId="2463351118" sldId="2134806269"/>
            <ac:spMk id="57" creationId="{00000000-0000-0000-0000-000000000000}"/>
          </ac:spMkLst>
        </pc:spChg>
      </pc:sldChg>
      <pc:sldChg chg="del">
        <pc:chgData name="STEPANCHENKO, D. (Dmitrii)" userId="30c9d29d-ac41-46ff-b2be-c3f5dd1e26e1" providerId="ADAL" clId="{F1089F27-2CA7-4F6B-AF97-026CBAF4CD7A}" dt="2023-02-10T14:12:18.826" v="52" actId="47"/>
        <pc:sldMkLst>
          <pc:docMk/>
          <pc:sldMk cId="4146022198" sldId="2134806269"/>
        </pc:sldMkLst>
      </pc:sldChg>
      <pc:sldChg chg="del">
        <pc:chgData name="STEPANCHENKO, D. (Dmitrii)" userId="30c9d29d-ac41-46ff-b2be-c3f5dd1e26e1" providerId="ADAL" clId="{F1089F27-2CA7-4F6B-AF97-026CBAF4CD7A}" dt="2023-02-10T14:12:18.826" v="52" actId="47"/>
        <pc:sldMkLst>
          <pc:docMk/>
          <pc:sldMk cId="1937308450" sldId="2134806270"/>
        </pc:sldMkLst>
      </pc:sldChg>
      <pc:sldChg chg="del">
        <pc:chgData name="STEPANCHENKO, D. (Dmitrii)" userId="30c9d29d-ac41-46ff-b2be-c3f5dd1e26e1" providerId="ADAL" clId="{F1089F27-2CA7-4F6B-AF97-026CBAF4CD7A}" dt="2023-02-10T14:12:18.826" v="52" actId="47"/>
        <pc:sldMkLst>
          <pc:docMk/>
          <pc:sldMk cId="3806807723" sldId="2134806271"/>
        </pc:sldMkLst>
      </pc:sldChg>
      <pc:sldChg chg="modSp del mod">
        <pc:chgData name="STEPANCHENKO, D. (Dmitrii)" userId="30c9d29d-ac41-46ff-b2be-c3f5dd1e26e1" providerId="ADAL" clId="{F1089F27-2CA7-4F6B-AF97-026CBAF4CD7A}" dt="2023-02-10T14:12:18.826" v="52" actId="47"/>
        <pc:sldMkLst>
          <pc:docMk/>
          <pc:sldMk cId="2322687294" sldId="2134806289"/>
        </pc:sldMkLst>
        <pc:spChg chg="mod">
          <ac:chgData name="STEPANCHENKO, D. (Dmitrii)" userId="30c9d29d-ac41-46ff-b2be-c3f5dd1e26e1" providerId="ADAL" clId="{F1089F27-2CA7-4F6B-AF97-026CBAF4CD7A}" dt="2023-02-10T14:10:47.477" v="51" actId="6549"/>
          <ac:spMkLst>
            <pc:docMk/>
            <pc:sldMk cId="2322687294" sldId="2134806289"/>
            <ac:spMk id="4" creationId="{FABF48EB-F5DD-73B7-0214-661762AC84D0}"/>
          </ac:spMkLst>
        </pc:spChg>
      </pc:sldChg>
      <pc:sldChg chg="del">
        <pc:chgData name="STEPANCHENKO, D. (Dmitrii)" userId="30c9d29d-ac41-46ff-b2be-c3f5dd1e26e1" providerId="ADAL" clId="{F1089F27-2CA7-4F6B-AF97-026CBAF4CD7A}" dt="2023-02-10T14:12:18.826" v="52" actId="47"/>
        <pc:sldMkLst>
          <pc:docMk/>
          <pc:sldMk cId="1987294738" sldId="2134806293"/>
        </pc:sldMkLst>
      </pc:sldChg>
      <pc:sldChg chg="del">
        <pc:chgData name="STEPANCHENKO, D. (Dmitrii)" userId="30c9d29d-ac41-46ff-b2be-c3f5dd1e26e1" providerId="ADAL" clId="{F1089F27-2CA7-4F6B-AF97-026CBAF4CD7A}" dt="2023-02-10T14:12:18.826" v="52" actId="47"/>
        <pc:sldMkLst>
          <pc:docMk/>
          <pc:sldMk cId="860713518" sldId="2134806317"/>
        </pc:sldMkLst>
      </pc:sldChg>
      <pc:sldChg chg="addSp delSp modSp del mod">
        <pc:chgData name="STEPANCHENKO, D. (Dmitrii)" userId="30c9d29d-ac41-46ff-b2be-c3f5dd1e26e1" providerId="ADAL" clId="{F1089F27-2CA7-4F6B-AF97-026CBAF4CD7A}" dt="2023-02-19T12:43:17.520" v="10773" actId="47"/>
        <pc:sldMkLst>
          <pc:docMk/>
          <pc:sldMk cId="1455295070" sldId="2134806318"/>
        </pc:sldMkLst>
        <pc:spChg chg="add mod">
          <ac:chgData name="STEPANCHENKO, D. (Dmitrii)" userId="30c9d29d-ac41-46ff-b2be-c3f5dd1e26e1" providerId="ADAL" clId="{F1089F27-2CA7-4F6B-AF97-026CBAF4CD7A}" dt="2023-02-14T15:52:02.960" v="7214" actId="13926"/>
          <ac:spMkLst>
            <pc:docMk/>
            <pc:sldMk cId="1455295070" sldId="2134806318"/>
            <ac:spMk id="4" creationId="{78C03241-F245-4623-A41A-659673385123}"/>
          </ac:spMkLst>
        </pc:spChg>
        <pc:spChg chg="mod">
          <ac:chgData name="STEPANCHENKO, D. (Dmitrii)" userId="30c9d29d-ac41-46ff-b2be-c3f5dd1e26e1" providerId="ADAL" clId="{F1089F27-2CA7-4F6B-AF97-026CBAF4CD7A}" dt="2023-02-12T09:02:10.327" v="1128" actId="20577"/>
          <ac:spMkLst>
            <pc:docMk/>
            <pc:sldMk cId="1455295070" sldId="2134806318"/>
            <ac:spMk id="5" creationId="{81BD1123-3626-1C45-BF5B-1C1864FA8AFA}"/>
          </ac:spMkLst>
        </pc:spChg>
        <pc:spChg chg="del">
          <ac:chgData name="STEPANCHENKO, D. (Dmitrii)" userId="30c9d29d-ac41-46ff-b2be-c3f5dd1e26e1" providerId="ADAL" clId="{F1089F27-2CA7-4F6B-AF97-026CBAF4CD7A}" dt="2023-02-10T14:12:26.339" v="53" actId="478"/>
          <ac:spMkLst>
            <pc:docMk/>
            <pc:sldMk cId="1455295070" sldId="2134806318"/>
            <ac:spMk id="7" creationId="{6842C5AA-1AE9-ED6E-50AB-B863FE28CE8D}"/>
          </ac:spMkLst>
        </pc:spChg>
        <pc:spChg chg="del">
          <ac:chgData name="STEPANCHENKO, D. (Dmitrii)" userId="30c9d29d-ac41-46ff-b2be-c3f5dd1e26e1" providerId="ADAL" clId="{F1089F27-2CA7-4F6B-AF97-026CBAF4CD7A}" dt="2023-02-10T14:12:26.339" v="53" actId="478"/>
          <ac:spMkLst>
            <pc:docMk/>
            <pc:sldMk cId="1455295070" sldId="2134806318"/>
            <ac:spMk id="10" creationId="{32728730-626D-0038-35C3-8C916E7BC5BC}"/>
          </ac:spMkLst>
        </pc:spChg>
        <pc:spChg chg="del">
          <ac:chgData name="STEPANCHENKO, D. (Dmitrii)" userId="30c9d29d-ac41-46ff-b2be-c3f5dd1e26e1" providerId="ADAL" clId="{F1089F27-2CA7-4F6B-AF97-026CBAF4CD7A}" dt="2023-02-10T14:12:26.339" v="53" actId="478"/>
          <ac:spMkLst>
            <pc:docMk/>
            <pc:sldMk cId="1455295070" sldId="2134806318"/>
            <ac:spMk id="12" creationId="{4D1E3965-D161-999D-0999-3D1B1364CEA1}"/>
          </ac:spMkLst>
        </pc:spChg>
        <pc:graphicFrameChg chg="del">
          <ac:chgData name="STEPANCHENKO, D. (Dmitrii)" userId="30c9d29d-ac41-46ff-b2be-c3f5dd1e26e1" providerId="ADAL" clId="{F1089F27-2CA7-4F6B-AF97-026CBAF4CD7A}" dt="2023-02-10T14:12:26.339" v="53" actId="478"/>
          <ac:graphicFrameMkLst>
            <pc:docMk/>
            <pc:sldMk cId="1455295070" sldId="2134806318"/>
            <ac:graphicFrameMk id="11" creationId="{D999BAE8-0165-4FA3-822A-4B3110B1E9C9}"/>
          </ac:graphicFrameMkLst>
        </pc:graphicFrameChg>
        <pc:picChg chg="del mod">
          <ac:chgData name="STEPANCHENKO, D. (Dmitrii)" userId="30c9d29d-ac41-46ff-b2be-c3f5dd1e26e1" providerId="ADAL" clId="{F1089F27-2CA7-4F6B-AF97-026CBAF4CD7A}" dt="2023-02-10T14:12:28.770" v="55" actId="478"/>
          <ac:picMkLst>
            <pc:docMk/>
            <pc:sldMk cId="1455295070" sldId="2134806318"/>
            <ac:picMk id="3" creationId="{4A1BF880-AFD7-4B6C-B24B-F5BE9CAF0F4D}"/>
          </ac:picMkLst>
        </pc:picChg>
        <pc:picChg chg="add del">
          <ac:chgData name="STEPANCHENKO, D. (Dmitrii)" userId="30c9d29d-ac41-46ff-b2be-c3f5dd1e26e1" providerId="ADAL" clId="{F1089F27-2CA7-4F6B-AF97-026CBAF4CD7A}" dt="2023-02-12T14:00:22.639" v="4795" actId="478"/>
          <ac:picMkLst>
            <pc:docMk/>
            <pc:sldMk cId="1455295070" sldId="2134806318"/>
            <ac:picMk id="6" creationId="{DF5F0D23-00E6-FF40-BDD5-A23D3F9C9BD6}"/>
          </ac:picMkLst>
        </pc:picChg>
        <pc:picChg chg="del">
          <ac:chgData name="STEPANCHENKO, D. (Dmitrii)" userId="30c9d29d-ac41-46ff-b2be-c3f5dd1e26e1" providerId="ADAL" clId="{F1089F27-2CA7-4F6B-AF97-026CBAF4CD7A}" dt="2023-02-10T14:12:26.339" v="53" actId="478"/>
          <ac:picMkLst>
            <pc:docMk/>
            <pc:sldMk cId="1455295070" sldId="2134806318"/>
            <ac:picMk id="9" creationId="{C3A39222-90C1-4ECB-75D5-5E782010CDE5}"/>
          </ac:picMkLst>
        </pc:picChg>
      </pc:sldChg>
      <pc:sldChg chg="addSp delSp modSp new del mod ord">
        <pc:chgData name="STEPANCHENKO, D. (Dmitrii)" userId="30c9d29d-ac41-46ff-b2be-c3f5dd1e26e1" providerId="ADAL" clId="{F1089F27-2CA7-4F6B-AF97-026CBAF4CD7A}" dt="2023-02-17T16:03:45.368" v="7904" actId="47"/>
        <pc:sldMkLst>
          <pc:docMk/>
          <pc:sldMk cId="4090923905" sldId="2134806319"/>
        </pc:sldMkLst>
        <pc:picChg chg="add del mod">
          <ac:chgData name="STEPANCHENKO, D. (Dmitrii)" userId="30c9d29d-ac41-46ff-b2be-c3f5dd1e26e1" providerId="ADAL" clId="{F1089F27-2CA7-4F6B-AF97-026CBAF4CD7A}" dt="2023-02-12T10:39:10.301" v="2847" actId="478"/>
          <ac:picMkLst>
            <pc:docMk/>
            <pc:sldMk cId="4090923905" sldId="2134806319"/>
            <ac:picMk id="4" creationId="{29CA5851-007C-079C-FF94-86DD330C2B2F}"/>
          </ac:picMkLst>
        </pc:picChg>
        <pc:picChg chg="add mod">
          <ac:chgData name="STEPANCHENKO, D. (Dmitrii)" userId="30c9d29d-ac41-46ff-b2be-c3f5dd1e26e1" providerId="ADAL" clId="{F1089F27-2CA7-4F6B-AF97-026CBAF4CD7A}" dt="2023-02-10T14:26:40.304" v="765" actId="1076"/>
          <ac:picMkLst>
            <pc:docMk/>
            <pc:sldMk cId="4090923905" sldId="2134806319"/>
            <ac:picMk id="6" creationId="{1F0177F0-BE16-369E-36F5-483E368F1740}"/>
          </ac:picMkLst>
        </pc:picChg>
        <pc:picChg chg="add mod">
          <ac:chgData name="STEPANCHENKO, D. (Dmitrii)" userId="30c9d29d-ac41-46ff-b2be-c3f5dd1e26e1" providerId="ADAL" clId="{F1089F27-2CA7-4F6B-AF97-026CBAF4CD7A}" dt="2023-02-10T14:26:59.622" v="767" actId="1076"/>
          <ac:picMkLst>
            <pc:docMk/>
            <pc:sldMk cId="4090923905" sldId="2134806319"/>
            <ac:picMk id="8" creationId="{E37221D4-A1B4-F625-ED80-984890A9C27D}"/>
          </ac:picMkLst>
        </pc:picChg>
        <pc:picChg chg="add mod">
          <ac:chgData name="STEPANCHENKO, D. (Dmitrii)" userId="30c9d29d-ac41-46ff-b2be-c3f5dd1e26e1" providerId="ADAL" clId="{F1089F27-2CA7-4F6B-AF97-026CBAF4CD7A}" dt="2023-02-10T14:27:48.721" v="774" actId="1076"/>
          <ac:picMkLst>
            <pc:docMk/>
            <pc:sldMk cId="4090923905" sldId="2134806319"/>
            <ac:picMk id="10" creationId="{B95510D7-4E67-BF8D-BF7C-77F25046700E}"/>
          </ac:picMkLst>
        </pc:picChg>
      </pc:sldChg>
      <pc:sldChg chg="addSp delSp modSp new mod ord modAnim">
        <pc:chgData name="STEPANCHENKO, D. (Dmitrii)" userId="30c9d29d-ac41-46ff-b2be-c3f5dd1e26e1" providerId="ADAL" clId="{F1089F27-2CA7-4F6B-AF97-026CBAF4CD7A}" dt="2023-02-19T12:43:47.571" v="10777" actId="1076"/>
        <pc:sldMkLst>
          <pc:docMk/>
          <pc:sldMk cId="123236843" sldId="2134806320"/>
        </pc:sldMkLst>
        <pc:spChg chg="add mod">
          <ac:chgData name="STEPANCHENKO, D. (Dmitrii)" userId="30c9d29d-ac41-46ff-b2be-c3f5dd1e26e1" providerId="ADAL" clId="{F1089F27-2CA7-4F6B-AF97-026CBAF4CD7A}" dt="2023-02-12T12:17:49.211" v="3718" actId="1076"/>
          <ac:spMkLst>
            <pc:docMk/>
            <pc:sldMk cId="123236843" sldId="2134806320"/>
            <ac:spMk id="5" creationId="{A5099883-2320-2D9A-3BFE-E5C7ECE2D064}"/>
          </ac:spMkLst>
        </pc:spChg>
        <pc:spChg chg="add del">
          <ac:chgData name="STEPANCHENKO, D. (Dmitrii)" userId="30c9d29d-ac41-46ff-b2be-c3f5dd1e26e1" providerId="ADAL" clId="{F1089F27-2CA7-4F6B-AF97-026CBAF4CD7A}" dt="2023-02-12T11:10:09.320" v="3354" actId="22"/>
          <ac:spMkLst>
            <pc:docMk/>
            <pc:sldMk cId="123236843" sldId="2134806320"/>
            <ac:spMk id="9" creationId="{8285A456-9B63-BC2D-509A-6EA82DD04A6F}"/>
          </ac:spMkLst>
        </pc:spChg>
        <pc:spChg chg="add mod">
          <ac:chgData name="STEPANCHENKO, D. (Dmitrii)" userId="30c9d29d-ac41-46ff-b2be-c3f5dd1e26e1" providerId="ADAL" clId="{F1089F27-2CA7-4F6B-AF97-026CBAF4CD7A}" dt="2023-02-12T11:56:46.421" v="3601" actId="20577"/>
          <ac:spMkLst>
            <pc:docMk/>
            <pc:sldMk cId="123236843" sldId="2134806320"/>
            <ac:spMk id="11" creationId="{9BC67766-251F-0718-CD22-17378CAC1413}"/>
          </ac:spMkLst>
        </pc:spChg>
        <pc:spChg chg="add del mod">
          <ac:chgData name="STEPANCHENKO, D. (Dmitrii)" userId="30c9d29d-ac41-46ff-b2be-c3f5dd1e26e1" providerId="ADAL" clId="{F1089F27-2CA7-4F6B-AF97-026CBAF4CD7A}" dt="2023-02-19T09:19:42.958" v="8421" actId="478"/>
          <ac:spMkLst>
            <pc:docMk/>
            <pc:sldMk cId="123236843" sldId="2134806320"/>
            <ac:spMk id="12" creationId="{217EA7F2-25D7-2A32-0670-C376850F40AD}"/>
          </ac:spMkLst>
        </pc:spChg>
        <pc:graphicFrameChg chg="add mod modGraphic">
          <ac:chgData name="STEPANCHENKO, D. (Dmitrii)" userId="30c9d29d-ac41-46ff-b2be-c3f5dd1e26e1" providerId="ADAL" clId="{F1089F27-2CA7-4F6B-AF97-026CBAF4CD7A}" dt="2023-02-19T12:43:38.670" v="10776" actId="20577"/>
          <ac:graphicFrameMkLst>
            <pc:docMk/>
            <pc:sldMk cId="123236843" sldId="2134806320"/>
            <ac:graphicFrameMk id="10" creationId="{7BFD4002-9D15-623A-BD6D-22CC0DDB8901}"/>
          </ac:graphicFrameMkLst>
        </pc:graphicFrameChg>
        <pc:picChg chg="add del mod">
          <ac:chgData name="STEPANCHENKO, D. (Dmitrii)" userId="30c9d29d-ac41-46ff-b2be-c3f5dd1e26e1" providerId="ADAL" clId="{F1089F27-2CA7-4F6B-AF97-026CBAF4CD7A}" dt="2023-02-12T11:06:15.176" v="3293" actId="21"/>
          <ac:picMkLst>
            <pc:docMk/>
            <pc:sldMk cId="123236843" sldId="2134806320"/>
            <ac:picMk id="4" creationId="{D12123B8-BC8A-7B3F-E200-41D0DF451F2F}"/>
          </ac:picMkLst>
        </pc:picChg>
        <pc:picChg chg="add del mod">
          <ac:chgData name="STEPANCHENKO, D. (Dmitrii)" userId="30c9d29d-ac41-46ff-b2be-c3f5dd1e26e1" providerId="ADAL" clId="{F1089F27-2CA7-4F6B-AF97-026CBAF4CD7A}" dt="2023-02-12T11:06:15.176" v="3293" actId="21"/>
          <ac:picMkLst>
            <pc:docMk/>
            <pc:sldMk cId="123236843" sldId="2134806320"/>
            <ac:picMk id="6" creationId="{DCAF4A99-CB4A-01FD-71B1-52879FD609C6}"/>
          </ac:picMkLst>
        </pc:picChg>
        <pc:picChg chg="add del mod">
          <ac:chgData name="STEPANCHENKO, D. (Dmitrii)" userId="30c9d29d-ac41-46ff-b2be-c3f5dd1e26e1" providerId="ADAL" clId="{F1089F27-2CA7-4F6B-AF97-026CBAF4CD7A}" dt="2023-02-12T11:06:15.176" v="3293" actId="21"/>
          <ac:picMkLst>
            <pc:docMk/>
            <pc:sldMk cId="123236843" sldId="2134806320"/>
            <ac:picMk id="8" creationId="{CB36CE0D-EAC3-50E4-32B4-29553841EF81}"/>
          </ac:picMkLst>
        </pc:picChg>
        <pc:picChg chg="add mod">
          <ac:chgData name="STEPANCHENKO, D. (Dmitrii)" userId="30c9d29d-ac41-46ff-b2be-c3f5dd1e26e1" providerId="ADAL" clId="{F1089F27-2CA7-4F6B-AF97-026CBAF4CD7A}" dt="2023-02-19T12:43:47.571" v="10777" actId="1076"/>
          <ac:picMkLst>
            <pc:docMk/>
            <pc:sldMk cId="123236843" sldId="2134806320"/>
            <ac:picMk id="14" creationId="{1D3EDC59-B52B-DD64-2CA0-DEB986A832EA}"/>
          </ac:picMkLst>
        </pc:picChg>
      </pc:sldChg>
      <pc:sldChg chg="del">
        <pc:chgData name="STEPANCHENKO, D. (Dmitrii)" userId="30c9d29d-ac41-46ff-b2be-c3f5dd1e26e1" providerId="ADAL" clId="{F1089F27-2CA7-4F6B-AF97-026CBAF4CD7A}" dt="2023-02-10T14:12:18.826" v="52" actId="47"/>
        <pc:sldMkLst>
          <pc:docMk/>
          <pc:sldMk cId="328194484" sldId="2134806320"/>
        </pc:sldMkLst>
      </pc:sldChg>
      <pc:sldChg chg="del">
        <pc:chgData name="STEPANCHENKO, D. (Dmitrii)" userId="30c9d29d-ac41-46ff-b2be-c3f5dd1e26e1" providerId="ADAL" clId="{F1089F27-2CA7-4F6B-AF97-026CBAF4CD7A}" dt="2023-02-10T14:12:18.826" v="52" actId="47"/>
        <pc:sldMkLst>
          <pc:docMk/>
          <pc:sldMk cId="931874431" sldId="2134806321"/>
        </pc:sldMkLst>
      </pc:sldChg>
      <pc:sldChg chg="addSp modSp new del mod ord">
        <pc:chgData name="STEPANCHENKO, D. (Dmitrii)" userId="30c9d29d-ac41-46ff-b2be-c3f5dd1e26e1" providerId="ADAL" clId="{F1089F27-2CA7-4F6B-AF97-026CBAF4CD7A}" dt="2023-02-19T09:28:13.271" v="8481" actId="47"/>
        <pc:sldMkLst>
          <pc:docMk/>
          <pc:sldMk cId="3981094662" sldId="2134806321"/>
        </pc:sldMkLst>
        <pc:picChg chg="add mod">
          <ac:chgData name="STEPANCHENKO, D. (Dmitrii)" userId="30c9d29d-ac41-46ff-b2be-c3f5dd1e26e1" providerId="ADAL" clId="{F1089F27-2CA7-4F6B-AF97-026CBAF4CD7A}" dt="2023-02-10T14:29:51.092" v="789" actId="1076"/>
          <ac:picMkLst>
            <pc:docMk/>
            <pc:sldMk cId="3981094662" sldId="2134806321"/>
            <ac:picMk id="4" creationId="{6215F474-0251-B921-CAD7-7573EA592D1E}"/>
          </ac:picMkLst>
        </pc:picChg>
        <pc:picChg chg="add mod">
          <ac:chgData name="STEPANCHENKO, D. (Dmitrii)" userId="30c9d29d-ac41-46ff-b2be-c3f5dd1e26e1" providerId="ADAL" clId="{F1089F27-2CA7-4F6B-AF97-026CBAF4CD7A}" dt="2023-02-10T14:30:22.037" v="791" actId="1076"/>
          <ac:picMkLst>
            <pc:docMk/>
            <pc:sldMk cId="3981094662" sldId="2134806321"/>
            <ac:picMk id="6" creationId="{C3279629-4B89-F4AC-9F1A-52E1121A1AD9}"/>
          </ac:picMkLst>
        </pc:picChg>
      </pc:sldChg>
      <pc:sldChg chg="del">
        <pc:chgData name="STEPANCHENKO, D. (Dmitrii)" userId="30c9d29d-ac41-46ff-b2be-c3f5dd1e26e1" providerId="ADAL" clId="{F1089F27-2CA7-4F6B-AF97-026CBAF4CD7A}" dt="2023-02-10T14:12:18.826" v="52" actId="47"/>
        <pc:sldMkLst>
          <pc:docMk/>
          <pc:sldMk cId="2401638851" sldId="2134806322"/>
        </pc:sldMkLst>
      </pc:sldChg>
      <pc:sldChg chg="addSp modSp add del mod ord">
        <pc:chgData name="STEPANCHENKO, D. (Dmitrii)" userId="30c9d29d-ac41-46ff-b2be-c3f5dd1e26e1" providerId="ADAL" clId="{F1089F27-2CA7-4F6B-AF97-026CBAF4CD7A}" dt="2023-02-19T09:25:05.990" v="8479" actId="47"/>
        <pc:sldMkLst>
          <pc:docMk/>
          <pc:sldMk cId="3505165302" sldId="2134806322"/>
        </pc:sldMkLst>
        <pc:spChg chg="add mod">
          <ac:chgData name="STEPANCHENKO, D. (Dmitrii)" userId="30c9d29d-ac41-46ff-b2be-c3f5dd1e26e1" providerId="ADAL" clId="{F1089F27-2CA7-4F6B-AF97-026CBAF4CD7A}" dt="2023-02-10T15:11:24.031" v="932" actId="20577"/>
          <ac:spMkLst>
            <pc:docMk/>
            <pc:sldMk cId="3505165302" sldId="2134806322"/>
            <ac:spMk id="3" creationId="{F89881EB-3DBB-C75D-2DC9-EE910F1536E7}"/>
          </ac:spMkLst>
        </pc:spChg>
      </pc:sldChg>
      <pc:sldChg chg="addSp modSp new del mod">
        <pc:chgData name="STEPANCHENKO, D. (Dmitrii)" userId="30c9d29d-ac41-46ff-b2be-c3f5dd1e26e1" providerId="ADAL" clId="{F1089F27-2CA7-4F6B-AF97-026CBAF4CD7A}" dt="2023-02-17T16:04:05.305" v="7905" actId="47"/>
        <pc:sldMkLst>
          <pc:docMk/>
          <pc:sldMk cId="611908845" sldId="2134806323"/>
        </pc:sldMkLst>
        <pc:picChg chg="add mod">
          <ac:chgData name="STEPANCHENKO, D. (Dmitrii)" userId="30c9d29d-ac41-46ff-b2be-c3f5dd1e26e1" providerId="ADAL" clId="{F1089F27-2CA7-4F6B-AF97-026CBAF4CD7A}" dt="2023-02-10T15:12:17.133" v="937" actId="1076"/>
          <ac:picMkLst>
            <pc:docMk/>
            <pc:sldMk cId="611908845" sldId="2134806323"/>
            <ac:picMk id="4" creationId="{7832E325-70EE-5A91-6F58-0257386D12BD}"/>
          </ac:picMkLst>
        </pc:picChg>
      </pc:sldChg>
      <pc:sldChg chg="del">
        <pc:chgData name="STEPANCHENKO, D. (Dmitrii)" userId="30c9d29d-ac41-46ff-b2be-c3f5dd1e26e1" providerId="ADAL" clId="{F1089F27-2CA7-4F6B-AF97-026CBAF4CD7A}" dt="2023-02-10T14:12:18.826" v="52" actId="47"/>
        <pc:sldMkLst>
          <pc:docMk/>
          <pc:sldMk cId="2685767378" sldId="2134806323"/>
        </pc:sldMkLst>
      </pc:sldChg>
      <pc:sldChg chg="addSp modSp new del mod">
        <pc:chgData name="STEPANCHENKO, D. (Dmitrii)" userId="30c9d29d-ac41-46ff-b2be-c3f5dd1e26e1" providerId="ADAL" clId="{F1089F27-2CA7-4F6B-AF97-026CBAF4CD7A}" dt="2023-02-17T16:04:49.635" v="7909" actId="47"/>
        <pc:sldMkLst>
          <pc:docMk/>
          <pc:sldMk cId="3515820768" sldId="2134806324"/>
        </pc:sldMkLst>
        <pc:picChg chg="add mod">
          <ac:chgData name="STEPANCHENKO, D. (Dmitrii)" userId="30c9d29d-ac41-46ff-b2be-c3f5dd1e26e1" providerId="ADAL" clId="{F1089F27-2CA7-4F6B-AF97-026CBAF4CD7A}" dt="2023-02-10T15:15:32.886" v="940" actId="1076"/>
          <ac:picMkLst>
            <pc:docMk/>
            <pc:sldMk cId="3515820768" sldId="2134806324"/>
            <ac:picMk id="4" creationId="{7DA79001-7EF9-81AD-FF4D-BB6EED59EDCD}"/>
          </ac:picMkLst>
        </pc:picChg>
      </pc:sldChg>
      <pc:sldChg chg="addSp modSp new del mod">
        <pc:chgData name="STEPANCHENKO, D. (Dmitrii)" userId="30c9d29d-ac41-46ff-b2be-c3f5dd1e26e1" providerId="ADAL" clId="{F1089F27-2CA7-4F6B-AF97-026CBAF4CD7A}" dt="2023-02-19T09:28:05.116" v="8480" actId="47"/>
        <pc:sldMkLst>
          <pc:docMk/>
          <pc:sldMk cId="1681901787" sldId="2134806325"/>
        </pc:sldMkLst>
        <pc:spChg chg="add mod">
          <ac:chgData name="STEPANCHENKO, D. (Dmitrii)" userId="30c9d29d-ac41-46ff-b2be-c3f5dd1e26e1" providerId="ADAL" clId="{F1089F27-2CA7-4F6B-AF97-026CBAF4CD7A}" dt="2023-02-10T15:15:51.419" v="989" actId="20577"/>
          <ac:spMkLst>
            <pc:docMk/>
            <pc:sldMk cId="1681901787" sldId="2134806325"/>
            <ac:spMk id="3" creationId="{A095CF58-4CFE-EC88-895C-5AB91906BD6D}"/>
          </ac:spMkLst>
        </pc:spChg>
      </pc:sldChg>
      <pc:sldChg chg="del">
        <pc:chgData name="STEPANCHENKO, D. (Dmitrii)" userId="30c9d29d-ac41-46ff-b2be-c3f5dd1e26e1" providerId="ADAL" clId="{F1089F27-2CA7-4F6B-AF97-026CBAF4CD7A}" dt="2023-02-10T14:12:18.826" v="52" actId="47"/>
        <pc:sldMkLst>
          <pc:docMk/>
          <pc:sldMk cId="521703837" sldId="2134806326"/>
        </pc:sldMkLst>
      </pc:sldChg>
      <pc:sldChg chg="new del">
        <pc:chgData name="STEPANCHENKO, D. (Dmitrii)" userId="30c9d29d-ac41-46ff-b2be-c3f5dd1e26e1" providerId="ADAL" clId="{F1089F27-2CA7-4F6B-AF97-026CBAF4CD7A}" dt="2023-02-17T16:04:56.018" v="7910" actId="47"/>
        <pc:sldMkLst>
          <pc:docMk/>
          <pc:sldMk cId="1035378868" sldId="2134806326"/>
        </pc:sldMkLst>
      </pc:sldChg>
      <pc:sldChg chg="del">
        <pc:chgData name="STEPANCHENKO, D. (Dmitrii)" userId="30c9d29d-ac41-46ff-b2be-c3f5dd1e26e1" providerId="ADAL" clId="{F1089F27-2CA7-4F6B-AF97-026CBAF4CD7A}" dt="2023-02-10T14:12:18.826" v="52" actId="47"/>
        <pc:sldMkLst>
          <pc:docMk/>
          <pc:sldMk cId="1383993538" sldId="2134806327"/>
        </pc:sldMkLst>
      </pc:sldChg>
      <pc:sldChg chg="new del">
        <pc:chgData name="STEPANCHENKO, D. (Dmitrii)" userId="30c9d29d-ac41-46ff-b2be-c3f5dd1e26e1" providerId="ADAL" clId="{F1089F27-2CA7-4F6B-AF97-026CBAF4CD7A}" dt="2023-02-17T16:04:56.018" v="7910" actId="47"/>
        <pc:sldMkLst>
          <pc:docMk/>
          <pc:sldMk cId="3546147866" sldId="2134806327"/>
        </pc:sldMkLst>
      </pc:sldChg>
      <pc:sldChg chg="new del">
        <pc:chgData name="STEPANCHENKO, D. (Dmitrii)" userId="30c9d29d-ac41-46ff-b2be-c3f5dd1e26e1" providerId="ADAL" clId="{F1089F27-2CA7-4F6B-AF97-026CBAF4CD7A}" dt="2023-02-17T16:04:56.018" v="7910" actId="47"/>
        <pc:sldMkLst>
          <pc:docMk/>
          <pc:sldMk cId="2188507405" sldId="2134806328"/>
        </pc:sldMkLst>
      </pc:sldChg>
      <pc:sldChg chg="modSp del mod">
        <pc:chgData name="STEPANCHENKO, D. (Dmitrii)" userId="30c9d29d-ac41-46ff-b2be-c3f5dd1e26e1" providerId="ADAL" clId="{F1089F27-2CA7-4F6B-AF97-026CBAF4CD7A}" dt="2023-02-10T14:12:18.826" v="52" actId="47"/>
        <pc:sldMkLst>
          <pc:docMk/>
          <pc:sldMk cId="3352262577" sldId="2134806328"/>
        </pc:sldMkLst>
        <pc:graphicFrameChg chg="mod modGraphic">
          <ac:chgData name="STEPANCHENKO, D. (Dmitrii)" userId="30c9d29d-ac41-46ff-b2be-c3f5dd1e26e1" providerId="ADAL" clId="{F1089F27-2CA7-4F6B-AF97-026CBAF4CD7A}" dt="2023-02-10T14:09:36.479" v="10" actId="20577"/>
          <ac:graphicFrameMkLst>
            <pc:docMk/>
            <pc:sldMk cId="3352262577" sldId="2134806328"/>
            <ac:graphicFrameMk id="14" creationId="{C5F7A9A8-78D1-454D-96FA-2A934AA6F49F}"/>
          </ac:graphicFrameMkLst>
        </pc:graphicFrameChg>
      </pc:sldChg>
      <pc:sldChg chg="del">
        <pc:chgData name="STEPANCHENKO, D. (Dmitrii)" userId="30c9d29d-ac41-46ff-b2be-c3f5dd1e26e1" providerId="ADAL" clId="{F1089F27-2CA7-4F6B-AF97-026CBAF4CD7A}" dt="2023-02-10T14:12:18.826" v="52" actId="47"/>
        <pc:sldMkLst>
          <pc:docMk/>
          <pc:sldMk cId="3274818839" sldId="2134806329"/>
        </pc:sldMkLst>
      </pc:sldChg>
      <pc:sldChg chg="addSp delSp modSp new del mod">
        <pc:chgData name="STEPANCHENKO, D. (Dmitrii)" userId="30c9d29d-ac41-46ff-b2be-c3f5dd1e26e1" providerId="ADAL" clId="{F1089F27-2CA7-4F6B-AF97-026CBAF4CD7A}" dt="2023-02-19T09:18:57.260" v="8420" actId="47"/>
        <pc:sldMkLst>
          <pc:docMk/>
          <pc:sldMk cId="4288962585" sldId="2134806329"/>
        </pc:sldMkLst>
        <pc:spChg chg="add mod">
          <ac:chgData name="STEPANCHENKO, D. (Dmitrii)" userId="30c9d29d-ac41-46ff-b2be-c3f5dd1e26e1" providerId="ADAL" clId="{F1089F27-2CA7-4F6B-AF97-026CBAF4CD7A}" dt="2023-02-12T10:36:04.885" v="2691" actId="20577"/>
          <ac:spMkLst>
            <pc:docMk/>
            <pc:sldMk cId="4288962585" sldId="2134806329"/>
            <ac:spMk id="3" creationId="{B0B1E3C9-3E00-7AF5-9C86-3E21886F5EB9}"/>
          </ac:spMkLst>
        </pc:spChg>
        <pc:spChg chg="add mod">
          <ac:chgData name="STEPANCHENKO, D. (Dmitrii)" userId="30c9d29d-ac41-46ff-b2be-c3f5dd1e26e1" providerId="ADAL" clId="{F1089F27-2CA7-4F6B-AF97-026CBAF4CD7A}" dt="2023-02-19T09:16:48.020" v="8368" actId="6549"/>
          <ac:spMkLst>
            <pc:docMk/>
            <pc:sldMk cId="4288962585" sldId="2134806329"/>
            <ac:spMk id="4" creationId="{068959D8-736E-2816-3A1C-C1169815369D}"/>
          </ac:spMkLst>
        </pc:spChg>
        <pc:graphicFrameChg chg="add del mod modGraphic">
          <ac:chgData name="STEPANCHENKO, D. (Dmitrii)" userId="30c9d29d-ac41-46ff-b2be-c3f5dd1e26e1" providerId="ADAL" clId="{F1089F27-2CA7-4F6B-AF97-026CBAF4CD7A}" dt="2023-02-12T11:20:17.024" v="3434" actId="478"/>
          <ac:graphicFrameMkLst>
            <pc:docMk/>
            <pc:sldMk cId="4288962585" sldId="2134806329"/>
            <ac:graphicFrameMk id="12" creationId="{8A7D4D7E-3632-472C-027F-6AB4630EB5F8}"/>
          </ac:graphicFrameMkLst>
        </pc:graphicFrameChg>
        <pc:picChg chg="add del mod">
          <ac:chgData name="STEPANCHENKO, D. (Dmitrii)" userId="30c9d29d-ac41-46ff-b2be-c3f5dd1e26e1" providerId="ADAL" clId="{F1089F27-2CA7-4F6B-AF97-026CBAF4CD7A}" dt="2023-02-12T10:37:48.790" v="2842" actId="478"/>
          <ac:picMkLst>
            <pc:docMk/>
            <pc:sldMk cId="4288962585" sldId="2134806329"/>
            <ac:picMk id="5" creationId="{40757F73-10D0-A2E4-CB52-DDFD81EF4C5A}"/>
          </ac:picMkLst>
        </pc:picChg>
        <pc:picChg chg="add del mod">
          <ac:chgData name="STEPANCHENKO, D. (Dmitrii)" userId="30c9d29d-ac41-46ff-b2be-c3f5dd1e26e1" providerId="ADAL" clId="{F1089F27-2CA7-4F6B-AF97-026CBAF4CD7A}" dt="2023-02-12T10:54:00.246" v="3069" actId="478"/>
          <ac:picMkLst>
            <pc:docMk/>
            <pc:sldMk cId="4288962585" sldId="2134806329"/>
            <ac:picMk id="7" creationId="{16D31641-65F0-FABF-3DED-8DA4073EB92E}"/>
          </ac:picMkLst>
        </pc:picChg>
        <pc:picChg chg="add del mod">
          <ac:chgData name="STEPANCHENKO, D. (Dmitrii)" userId="30c9d29d-ac41-46ff-b2be-c3f5dd1e26e1" providerId="ADAL" clId="{F1089F27-2CA7-4F6B-AF97-026CBAF4CD7A}" dt="2023-02-12T11:01:03.336" v="3231" actId="21"/>
          <ac:picMkLst>
            <pc:docMk/>
            <pc:sldMk cId="4288962585" sldId="2134806329"/>
            <ac:picMk id="8" creationId="{432D6E13-48B5-3E4B-DB57-CA1158E8AEDC}"/>
          </ac:picMkLst>
        </pc:picChg>
        <pc:picChg chg="add del mod">
          <ac:chgData name="STEPANCHENKO, D. (Dmitrii)" userId="30c9d29d-ac41-46ff-b2be-c3f5dd1e26e1" providerId="ADAL" clId="{F1089F27-2CA7-4F6B-AF97-026CBAF4CD7A}" dt="2023-02-12T11:01:03.336" v="3231" actId="21"/>
          <ac:picMkLst>
            <pc:docMk/>
            <pc:sldMk cId="4288962585" sldId="2134806329"/>
            <ac:picMk id="9" creationId="{595F6225-4CC2-DDAF-D2FD-89FD4C6EDC9C}"/>
          </ac:picMkLst>
        </pc:picChg>
        <pc:picChg chg="add del mod">
          <ac:chgData name="STEPANCHENKO, D. (Dmitrii)" userId="30c9d29d-ac41-46ff-b2be-c3f5dd1e26e1" providerId="ADAL" clId="{F1089F27-2CA7-4F6B-AF97-026CBAF4CD7A}" dt="2023-02-12T11:59:14.818" v="3629" actId="478"/>
          <ac:picMkLst>
            <pc:docMk/>
            <pc:sldMk cId="4288962585" sldId="2134806329"/>
            <ac:picMk id="11" creationId="{69F4E6B5-FCC5-0E40-19A8-F4184D11C267}"/>
          </ac:picMkLst>
        </pc:picChg>
        <pc:picChg chg="add del mod">
          <ac:chgData name="STEPANCHENKO, D. (Dmitrii)" userId="30c9d29d-ac41-46ff-b2be-c3f5dd1e26e1" providerId="ADAL" clId="{F1089F27-2CA7-4F6B-AF97-026CBAF4CD7A}" dt="2023-02-12T11:20:22.640" v="3435" actId="478"/>
          <ac:picMkLst>
            <pc:docMk/>
            <pc:sldMk cId="4288962585" sldId="2134806329"/>
            <ac:picMk id="13" creationId="{80BCE9D9-9C5C-BED4-BBCC-732EAB42AC15}"/>
          </ac:picMkLst>
        </pc:picChg>
        <pc:picChg chg="add del mod">
          <ac:chgData name="STEPANCHENKO, D. (Dmitrii)" userId="30c9d29d-ac41-46ff-b2be-c3f5dd1e26e1" providerId="ADAL" clId="{F1089F27-2CA7-4F6B-AF97-026CBAF4CD7A}" dt="2023-02-12T11:20:22.640" v="3435" actId="478"/>
          <ac:picMkLst>
            <pc:docMk/>
            <pc:sldMk cId="4288962585" sldId="2134806329"/>
            <ac:picMk id="14" creationId="{27A1080C-61F7-2C34-8DD1-1347D5968D44}"/>
          </ac:picMkLst>
        </pc:picChg>
        <pc:picChg chg="add del mod">
          <ac:chgData name="STEPANCHENKO, D. (Dmitrii)" userId="30c9d29d-ac41-46ff-b2be-c3f5dd1e26e1" providerId="ADAL" clId="{F1089F27-2CA7-4F6B-AF97-026CBAF4CD7A}" dt="2023-02-12T11:20:22.640" v="3435" actId="478"/>
          <ac:picMkLst>
            <pc:docMk/>
            <pc:sldMk cId="4288962585" sldId="2134806329"/>
            <ac:picMk id="15" creationId="{A9EE6338-832A-8B52-FF78-DB1BFA182C9B}"/>
          </ac:picMkLst>
        </pc:picChg>
        <pc:picChg chg="add mod">
          <ac:chgData name="STEPANCHENKO, D. (Dmitrii)" userId="30c9d29d-ac41-46ff-b2be-c3f5dd1e26e1" providerId="ADAL" clId="{F1089F27-2CA7-4F6B-AF97-026CBAF4CD7A}" dt="2023-02-12T11:59:08.376" v="3627" actId="1076"/>
          <ac:picMkLst>
            <pc:docMk/>
            <pc:sldMk cId="4288962585" sldId="2134806329"/>
            <ac:picMk id="16" creationId="{DB5F0744-59FD-4CDC-4B55-78CFFC68CCAD}"/>
          </ac:picMkLst>
        </pc:picChg>
        <pc:picChg chg="add mod">
          <ac:chgData name="STEPANCHENKO, D. (Dmitrii)" userId="30c9d29d-ac41-46ff-b2be-c3f5dd1e26e1" providerId="ADAL" clId="{F1089F27-2CA7-4F6B-AF97-026CBAF4CD7A}" dt="2023-02-12T11:59:13.029" v="3628" actId="1076"/>
          <ac:picMkLst>
            <pc:docMk/>
            <pc:sldMk cId="4288962585" sldId="2134806329"/>
            <ac:picMk id="17" creationId="{D2C09292-869E-8C29-C616-4F56600C50F1}"/>
          </ac:picMkLst>
        </pc:picChg>
      </pc:sldChg>
      <pc:sldChg chg="addSp delSp modSp add mod modAnim">
        <pc:chgData name="STEPANCHENKO, D. (Dmitrii)" userId="30c9d29d-ac41-46ff-b2be-c3f5dd1e26e1" providerId="ADAL" clId="{F1089F27-2CA7-4F6B-AF97-026CBAF4CD7A}" dt="2023-02-20T18:49:12.749" v="13575" actId="20577"/>
        <pc:sldMkLst>
          <pc:docMk/>
          <pc:sldMk cId="207440382" sldId="2134806330"/>
        </pc:sldMkLst>
        <pc:spChg chg="mod">
          <ac:chgData name="STEPANCHENKO, D. (Dmitrii)" userId="30c9d29d-ac41-46ff-b2be-c3f5dd1e26e1" providerId="ADAL" clId="{F1089F27-2CA7-4F6B-AF97-026CBAF4CD7A}" dt="2023-02-20T18:49:12.749" v="13575" actId="20577"/>
          <ac:spMkLst>
            <pc:docMk/>
            <pc:sldMk cId="207440382" sldId="2134806330"/>
            <ac:spMk id="3" creationId="{B0B1E3C9-3E00-7AF5-9C86-3E21886F5EB9}"/>
          </ac:spMkLst>
        </pc:spChg>
        <pc:spChg chg="del">
          <ac:chgData name="STEPANCHENKO, D. (Dmitrii)" userId="30c9d29d-ac41-46ff-b2be-c3f5dd1e26e1" providerId="ADAL" clId="{F1089F27-2CA7-4F6B-AF97-026CBAF4CD7A}" dt="2023-02-12T11:59:57.553" v="3635" actId="478"/>
          <ac:spMkLst>
            <pc:docMk/>
            <pc:sldMk cId="207440382" sldId="2134806330"/>
            <ac:spMk id="4" creationId="{068959D8-736E-2816-3A1C-C1169815369D}"/>
          </ac:spMkLst>
        </pc:spChg>
        <pc:spChg chg="add mod">
          <ac:chgData name="STEPANCHENKO, D. (Dmitrii)" userId="30c9d29d-ac41-46ff-b2be-c3f5dd1e26e1" providerId="ADAL" clId="{F1089F27-2CA7-4F6B-AF97-026CBAF4CD7A}" dt="2023-02-20T18:47:36.263" v="13522" actId="20577"/>
          <ac:spMkLst>
            <pc:docMk/>
            <pc:sldMk cId="207440382" sldId="2134806330"/>
            <ac:spMk id="4" creationId="{D283B11B-2A86-C6C1-D2E2-74206C1C0186}"/>
          </ac:spMkLst>
        </pc:spChg>
        <pc:spChg chg="add del mod">
          <ac:chgData name="STEPANCHENKO, D. (Dmitrii)" userId="30c9d29d-ac41-46ff-b2be-c3f5dd1e26e1" providerId="ADAL" clId="{F1089F27-2CA7-4F6B-AF97-026CBAF4CD7A}" dt="2023-02-12T12:31:57.281" v="3739" actId="478"/>
          <ac:spMkLst>
            <pc:docMk/>
            <pc:sldMk cId="207440382" sldId="2134806330"/>
            <ac:spMk id="5" creationId="{2635FA7D-4BC7-A0BF-6B11-F49E20FE180A}"/>
          </ac:spMkLst>
        </pc:spChg>
        <pc:spChg chg="add del mod">
          <ac:chgData name="STEPANCHENKO, D. (Dmitrii)" userId="30c9d29d-ac41-46ff-b2be-c3f5dd1e26e1" providerId="ADAL" clId="{F1089F27-2CA7-4F6B-AF97-026CBAF4CD7A}" dt="2023-02-12T12:37:48.600" v="3966" actId="478"/>
          <ac:spMkLst>
            <pc:docMk/>
            <pc:sldMk cId="207440382" sldId="2134806330"/>
            <ac:spMk id="6" creationId="{36E3A7F9-E588-8D3E-F016-B91FA901FA35}"/>
          </ac:spMkLst>
        </pc:spChg>
        <pc:spChg chg="add del mod">
          <ac:chgData name="STEPANCHENKO, D. (Dmitrii)" userId="30c9d29d-ac41-46ff-b2be-c3f5dd1e26e1" providerId="ADAL" clId="{F1089F27-2CA7-4F6B-AF97-026CBAF4CD7A}" dt="2023-02-19T09:16:40.015" v="8367" actId="478"/>
          <ac:spMkLst>
            <pc:docMk/>
            <pc:sldMk cId="207440382" sldId="2134806330"/>
            <ac:spMk id="8" creationId="{B130A157-3EF0-D796-DA89-096BFAE43CBC}"/>
          </ac:spMkLst>
        </pc:spChg>
        <pc:spChg chg="add del mod">
          <ac:chgData name="STEPANCHENKO, D. (Dmitrii)" userId="30c9d29d-ac41-46ff-b2be-c3f5dd1e26e1" providerId="ADAL" clId="{F1089F27-2CA7-4F6B-AF97-026CBAF4CD7A}" dt="2023-02-12T12:35:53.447" v="3829"/>
          <ac:spMkLst>
            <pc:docMk/>
            <pc:sldMk cId="207440382" sldId="2134806330"/>
            <ac:spMk id="10" creationId="{604280CD-55F9-2B75-E39C-409CD893519E}"/>
          </ac:spMkLst>
        </pc:spChg>
        <pc:picChg chg="add mod">
          <ac:chgData name="STEPANCHENKO, D. (Dmitrii)" userId="30c9d29d-ac41-46ff-b2be-c3f5dd1e26e1" providerId="ADAL" clId="{F1089F27-2CA7-4F6B-AF97-026CBAF4CD7A}" dt="2023-02-19T11:52:54.613" v="9699" actId="1037"/>
          <ac:picMkLst>
            <pc:docMk/>
            <pc:sldMk cId="207440382" sldId="2134806330"/>
            <ac:picMk id="5" creationId="{4DC0C358-5FA4-58A6-B8C8-D93F9BA85195}"/>
          </ac:picMkLst>
        </pc:picChg>
        <pc:picChg chg="add mod">
          <ac:chgData name="STEPANCHENKO, D. (Dmitrii)" userId="30c9d29d-ac41-46ff-b2be-c3f5dd1e26e1" providerId="ADAL" clId="{F1089F27-2CA7-4F6B-AF97-026CBAF4CD7A}" dt="2023-02-19T11:52:54.613" v="9699" actId="1037"/>
          <ac:picMkLst>
            <pc:docMk/>
            <pc:sldMk cId="207440382" sldId="2134806330"/>
            <ac:picMk id="6" creationId="{A0DF2AAF-8FBD-8310-A4EA-9E191540C8F0}"/>
          </ac:picMkLst>
        </pc:picChg>
        <pc:picChg chg="add mod">
          <ac:chgData name="STEPANCHENKO, D. (Dmitrii)" userId="30c9d29d-ac41-46ff-b2be-c3f5dd1e26e1" providerId="ADAL" clId="{F1089F27-2CA7-4F6B-AF97-026CBAF4CD7A}" dt="2023-02-12T12:52:51.852" v="4670" actId="1076"/>
          <ac:picMkLst>
            <pc:docMk/>
            <pc:sldMk cId="207440382" sldId="2134806330"/>
            <ac:picMk id="11" creationId="{CC93434C-2656-56A8-A809-6A341D842338}"/>
          </ac:picMkLst>
        </pc:picChg>
      </pc:sldChg>
      <pc:sldChg chg="del">
        <pc:chgData name="STEPANCHENKO, D. (Dmitrii)" userId="30c9d29d-ac41-46ff-b2be-c3f5dd1e26e1" providerId="ADAL" clId="{F1089F27-2CA7-4F6B-AF97-026CBAF4CD7A}" dt="2023-02-10T14:12:18.826" v="52" actId="47"/>
        <pc:sldMkLst>
          <pc:docMk/>
          <pc:sldMk cId="3089211194" sldId="2134806330"/>
        </pc:sldMkLst>
      </pc:sldChg>
      <pc:sldChg chg="addSp delSp modSp add mod">
        <pc:chgData name="STEPANCHENKO, D. (Dmitrii)" userId="30c9d29d-ac41-46ff-b2be-c3f5dd1e26e1" providerId="ADAL" clId="{F1089F27-2CA7-4F6B-AF97-026CBAF4CD7A}" dt="2023-02-19T11:16:31.060" v="8682" actId="20577"/>
        <pc:sldMkLst>
          <pc:docMk/>
          <pc:sldMk cId="2227863510" sldId="2134806331"/>
        </pc:sldMkLst>
        <pc:spChg chg="mod">
          <ac:chgData name="STEPANCHENKO, D. (Dmitrii)" userId="30c9d29d-ac41-46ff-b2be-c3f5dd1e26e1" providerId="ADAL" clId="{F1089F27-2CA7-4F6B-AF97-026CBAF4CD7A}" dt="2023-02-19T11:16:31.060" v="8682" actId="20577"/>
          <ac:spMkLst>
            <pc:docMk/>
            <pc:sldMk cId="2227863510" sldId="2134806331"/>
            <ac:spMk id="3" creationId="{B0B1E3C9-3E00-7AF5-9C86-3E21886F5EB9}"/>
          </ac:spMkLst>
        </pc:spChg>
        <pc:spChg chg="del">
          <ac:chgData name="STEPANCHENKO, D. (Dmitrii)" userId="30c9d29d-ac41-46ff-b2be-c3f5dd1e26e1" providerId="ADAL" clId="{F1089F27-2CA7-4F6B-AF97-026CBAF4CD7A}" dt="2023-02-12T12:00:02.578" v="3636" actId="478"/>
          <ac:spMkLst>
            <pc:docMk/>
            <pc:sldMk cId="2227863510" sldId="2134806331"/>
            <ac:spMk id="4" creationId="{068959D8-736E-2816-3A1C-C1169815369D}"/>
          </ac:spMkLst>
        </pc:spChg>
        <pc:spChg chg="add mod">
          <ac:chgData name="STEPANCHENKO, D. (Dmitrii)" userId="30c9d29d-ac41-46ff-b2be-c3f5dd1e26e1" providerId="ADAL" clId="{F1089F27-2CA7-4F6B-AF97-026CBAF4CD7A}" dt="2023-02-12T14:22:55.654" v="5580" actId="113"/>
          <ac:spMkLst>
            <pc:docMk/>
            <pc:sldMk cId="2227863510" sldId="2134806331"/>
            <ac:spMk id="6" creationId="{89C5E2C8-0113-4940-5D12-CA6A1E57CC5A}"/>
          </ac:spMkLst>
        </pc:spChg>
        <pc:spChg chg="add del">
          <ac:chgData name="STEPANCHENKO, D. (Dmitrii)" userId="30c9d29d-ac41-46ff-b2be-c3f5dd1e26e1" providerId="ADAL" clId="{F1089F27-2CA7-4F6B-AF97-026CBAF4CD7A}" dt="2023-02-12T13:50:55.253" v="4752" actId="22"/>
          <ac:spMkLst>
            <pc:docMk/>
            <pc:sldMk cId="2227863510" sldId="2134806331"/>
            <ac:spMk id="8" creationId="{9C68510F-C554-A122-D552-4F2031AEE543}"/>
          </ac:spMkLst>
        </pc:spChg>
        <pc:spChg chg="add del">
          <ac:chgData name="STEPANCHENKO, D. (Dmitrii)" userId="30c9d29d-ac41-46ff-b2be-c3f5dd1e26e1" providerId="ADAL" clId="{F1089F27-2CA7-4F6B-AF97-026CBAF4CD7A}" dt="2023-02-12T13:50:57.664" v="4754" actId="22"/>
          <ac:spMkLst>
            <pc:docMk/>
            <pc:sldMk cId="2227863510" sldId="2134806331"/>
            <ac:spMk id="10" creationId="{AA426D92-504D-F221-56F9-0018577245D8}"/>
          </ac:spMkLst>
        </pc:spChg>
        <pc:spChg chg="add mod">
          <ac:chgData name="STEPANCHENKO, D. (Dmitrii)" userId="30c9d29d-ac41-46ff-b2be-c3f5dd1e26e1" providerId="ADAL" clId="{F1089F27-2CA7-4F6B-AF97-026CBAF4CD7A}" dt="2023-02-12T14:12:16.397" v="5064" actId="208"/>
          <ac:spMkLst>
            <pc:docMk/>
            <pc:sldMk cId="2227863510" sldId="2134806331"/>
            <ac:spMk id="11" creationId="{D306C43A-8472-50B7-D21D-58B5E11C1271}"/>
          </ac:spMkLst>
        </pc:spChg>
      </pc:sldChg>
      <pc:sldChg chg="del">
        <pc:chgData name="STEPANCHENKO, D. (Dmitrii)" userId="30c9d29d-ac41-46ff-b2be-c3f5dd1e26e1" providerId="ADAL" clId="{F1089F27-2CA7-4F6B-AF97-026CBAF4CD7A}" dt="2023-02-10T14:12:18.826" v="52" actId="47"/>
        <pc:sldMkLst>
          <pc:docMk/>
          <pc:sldMk cId="4127393553" sldId="2134806331"/>
        </pc:sldMkLst>
      </pc:sldChg>
      <pc:sldChg chg="del">
        <pc:chgData name="STEPANCHENKO, D. (Dmitrii)" userId="30c9d29d-ac41-46ff-b2be-c3f5dd1e26e1" providerId="ADAL" clId="{F1089F27-2CA7-4F6B-AF97-026CBAF4CD7A}" dt="2023-02-10T14:12:18.826" v="52" actId="47"/>
        <pc:sldMkLst>
          <pc:docMk/>
          <pc:sldMk cId="962056861" sldId="2134806332"/>
        </pc:sldMkLst>
      </pc:sldChg>
      <pc:sldChg chg="addSp delSp modSp add mod">
        <pc:chgData name="STEPANCHENKO, D. (Dmitrii)" userId="30c9d29d-ac41-46ff-b2be-c3f5dd1e26e1" providerId="ADAL" clId="{F1089F27-2CA7-4F6B-AF97-026CBAF4CD7A}" dt="2023-02-20T18:51:03.301" v="13637" actId="20577"/>
        <pc:sldMkLst>
          <pc:docMk/>
          <pc:sldMk cId="2682644823" sldId="2134806332"/>
        </pc:sldMkLst>
        <pc:spChg chg="mod">
          <ac:chgData name="STEPANCHENKO, D. (Dmitrii)" userId="30c9d29d-ac41-46ff-b2be-c3f5dd1e26e1" providerId="ADAL" clId="{F1089F27-2CA7-4F6B-AF97-026CBAF4CD7A}" dt="2023-02-20T18:51:03.301" v="13637" actId="20577"/>
          <ac:spMkLst>
            <pc:docMk/>
            <pc:sldMk cId="2682644823" sldId="2134806332"/>
            <ac:spMk id="3" creationId="{B0B1E3C9-3E00-7AF5-9C86-3E21886F5EB9}"/>
          </ac:spMkLst>
        </pc:spChg>
        <pc:spChg chg="del">
          <ac:chgData name="STEPANCHENKO, D. (Dmitrii)" userId="30c9d29d-ac41-46ff-b2be-c3f5dd1e26e1" providerId="ADAL" clId="{F1089F27-2CA7-4F6B-AF97-026CBAF4CD7A}" dt="2023-02-12T12:09:21.707" v="3685" actId="478"/>
          <ac:spMkLst>
            <pc:docMk/>
            <pc:sldMk cId="2682644823" sldId="2134806332"/>
            <ac:spMk id="4" creationId="{068959D8-736E-2816-3A1C-C1169815369D}"/>
          </ac:spMkLst>
        </pc:spChg>
        <pc:spChg chg="add del mod">
          <ac:chgData name="STEPANCHENKO, D. (Dmitrii)" userId="30c9d29d-ac41-46ff-b2be-c3f5dd1e26e1" providerId="ADAL" clId="{F1089F27-2CA7-4F6B-AF97-026CBAF4CD7A}" dt="2023-02-17T16:29:30.171" v="8091" actId="478"/>
          <ac:spMkLst>
            <pc:docMk/>
            <pc:sldMk cId="2682644823" sldId="2134806332"/>
            <ac:spMk id="5" creationId="{2A2EC027-6B20-5B78-F8E8-E9061B10EAFC}"/>
          </ac:spMkLst>
        </pc:spChg>
        <pc:spChg chg="add del mod">
          <ac:chgData name="STEPANCHENKO, D. (Dmitrii)" userId="30c9d29d-ac41-46ff-b2be-c3f5dd1e26e1" providerId="ADAL" clId="{F1089F27-2CA7-4F6B-AF97-026CBAF4CD7A}" dt="2023-02-17T16:10:46.765" v="7912" actId="478"/>
          <ac:spMkLst>
            <pc:docMk/>
            <pc:sldMk cId="2682644823" sldId="2134806332"/>
            <ac:spMk id="6" creationId="{42F394B4-E137-D4D9-2AA6-E0C63D5E5290}"/>
          </ac:spMkLst>
        </pc:spChg>
        <pc:graphicFrameChg chg="add mod modGraphic">
          <ac:chgData name="STEPANCHENKO, D. (Dmitrii)" userId="30c9d29d-ac41-46ff-b2be-c3f5dd1e26e1" providerId="ADAL" clId="{F1089F27-2CA7-4F6B-AF97-026CBAF4CD7A}" dt="2023-02-18T07:50:25.973" v="8227" actId="113"/>
          <ac:graphicFrameMkLst>
            <pc:docMk/>
            <pc:sldMk cId="2682644823" sldId="2134806332"/>
            <ac:graphicFrameMk id="8" creationId="{B326BF55-CA3B-82CC-C579-DFACB3618447}"/>
          </ac:graphicFrameMkLst>
        </pc:graphicFrameChg>
        <pc:picChg chg="add del mod">
          <ac:chgData name="STEPANCHENKO, D. (Dmitrii)" userId="30c9d29d-ac41-46ff-b2be-c3f5dd1e26e1" providerId="ADAL" clId="{F1089F27-2CA7-4F6B-AF97-026CBAF4CD7A}" dt="2023-02-17T16:32:09.716" v="8115" actId="478"/>
          <ac:picMkLst>
            <pc:docMk/>
            <pc:sldMk cId="2682644823" sldId="2134806332"/>
            <ac:picMk id="7" creationId="{854C5717-7D78-EA48-F8F3-7B550EB5D304}"/>
          </ac:picMkLst>
        </pc:picChg>
        <pc:picChg chg="add del mod">
          <ac:chgData name="STEPANCHENKO, D. (Dmitrii)" userId="30c9d29d-ac41-46ff-b2be-c3f5dd1e26e1" providerId="ADAL" clId="{F1089F27-2CA7-4F6B-AF97-026CBAF4CD7A}" dt="2023-02-17T16:30:16.131" v="8097" actId="478"/>
          <ac:picMkLst>
            <pc:docMk/>
            <pc:sldMk cId="2682644823" sldId="2134806332"/>
            <ac:picMk id="10" creationId="{267867B0-6289-DBCC-F1E5-FBA93A91346D}"/>
          </ac:picMkLst>
        </pc:picChg>
      </pc:sldChg>
      <pc:sldChg chg="addSp delSp modSp add mod">
        <pc:chgData name="STEPANCHENKO, D. (Dmitrii)" userId="30c9d29d-ac41-46ff-b2be-c3f5dd1e26e1" providerId="ADAL" clId="{F1089F27-2CA7-4F6B-AF97-026CBAF4CD7A}" dt="2023-02-20T17:31:35.309" v="12186" actId="1076"/>
        <pc:sldMkLst>
          <pc:docMk/>
          <pc:sldMk cId="707995619" sldId="2134806333"/>
        </pc:sldMkLst>
        <pc:spChg chg="mod">
          <ac:chgData name="STEPANCHENKO, D. (Dmitrii)" userId="30c9d29d-ac41-46ff-b2be-c3f5dd1e26e1" providerId="ADAL" clId="{F1089F27-2CA7-4F6B-AF97-026CBAF4CD7A}" dt="2023-02-14T17:41:59.004" v="7818" actId="20577"/>
          <ac:spMkLst>
            <pc:docMk/>
            <pc:sldMk cId="707995619" sldId="2134806333"/>
            <ac:spMk id="3" creationId="{B0B1E3C9-3E00-7AF5-9C86-3E21886F5EB9}"/>
          </ac:spMkLst>
        </pc:spChg>
        <pc:spChg chg="del">
          <ac:chgData name="STEPANCHENKO, D. (Dmitrii)" userId="30c9d29d-ac41-46ff-b2be-c3f5dd1e26e1" providerId="ADAL" clId="{F1089F27-2CA7-4F6B-AF97-026CBAF4CD7A}" dt="2023-02-12T12:00:33.819" v="3657" actId="478"/>
          <ac:spMkLst>
            <pc:docMk/>
            <pc:sldMk cId="707995619" sldId="2134806333"/>
            <ac:spMk id="4" creationId="{068959D8-736E-2816-3A1C-C1169815369D}"/>
          </ac:spMkLst>
        </pc:spChg>
        <pc:spChg chg="add mod">
          <ac:chgData name="STEPANCHENKO, D. (Dmitrii)" userId="30c9d29d-ac41-46ff-b2be-c3f5dd1e26e1" providerId="ADAL" clId="{F1089F27-2CA7-4F6B-AF97-026CBAF4CD7A}" dt="2023-02-20T17:31:35.309" v="12186" actId="1076"/>
          <ac:spMkLst>
            <pc:docMk/>
            <pc:sldMk cId="707995619" sldId="2134806333"/>
            <ac:spMk id="4" creationId="{1644B35A-478C-4A6E-AAA7-E39CFD9BE9C0}"/>
          </ac:spMkLst>
        </pc:spChg>
        <pc:spChg chg="add del mod">
          <ac:chgData name="STEPANCHENKO, D. (Dmitrii)" userId="30c9d29d-ac41-46ff-b2be-c3f5dd1e26e1" providerId="ADAL" clId="{F1089F27-2CA7-4F6B-AF97-026CBAF4CD7A}" dt="2023-02-20T11:04:33.034" v="11222" actId="478"/>
          <ac:spMkLst>
            <pc:docMk/>
            <pc:sldMk cId="707995619" sldId="2134806333"/>
            <ac:spMk id="5" creationId="{F75BD39C-850B-4DB2-E849-05D4B4470DF3}"/>
          </ac:spMkLst>
        </pc:spChg>
        <pc:spChg chg="add del mod">
          <ac:chgData name="STEPANCHENKO, D. (Dmitrii)" userId="30c9d29d-ac41-46ff-b2be-c3f5dd1e26e1" providerId="ADAL" clId="{F1089F27-2CA7-4F6B-AF97-026CBAF4CD7A}" dt="2023-02-17T16:38:00.252" v="8186" actId="478"/>
          <ac:spMkLst>
            <pc:docMk/>
            <pc:sldMk cId="707995619" sldId="2134806333"/>
            <ac:spMk id="6" creationId="{1A682D75-4BD3-4252-42A2-5554CDAF449C}"/>
          </ac:spMkLst>
        </pc:spChg>
      </pc:sldChg>
      <pc:sldChg chg="del">
        <pc:chgData name="STEPANCHENKO, D. (Dmitrii)" userId="30c9d29d-ac41-46ff-b2be-c3f5dd1e26e1" providerId="ADAL" clId="{F1089F27-2CA7-4F6B-AF97-026CBAF4CD7A}" dt="2023-02-10T14:12:18.826" v="52" actId="47"/>
        <pc:sldMkLst>
          <pc:docMk/>
          <pc:sldMk cId="3444687285" sldId="2134806333"/>
        </pc:sldMkLst>
      </pc:sldChg>
      <pc:sldChg chg="addSp delSp modSp add mod ord modAnim">
        <pc:chgData name="STEPANCHENKO, D. (Dmitrii)" userId="30c9d29d-ac41-46ff-b2be-c3f5dd1e26e1" providerId="ADAL" clId="{F1089F27-2CA7-4F6B-AF97-026CBAF4CD7A}" dt="2023-02-20T17:41:44.237" v="12244"/>
        <pc:sldMkLst>
          <pc:docMk/>
          <pc:sldMk cId="1780132281" sldId="2134806334"/>
        </pc:sldMkLst>
        <pc:spChg chg="mod">
          <ac:chgData name="STEPANCHENKO, D. (Dmitrii)" userId="30c9d29d-ac41-46ff-b2be-c3f5dd1e26e1" providerId="ADAL" clId="{F1089F27-2CA7-4F6B-AF97-026CBAF4CD7A}" dt="2023-02-20T17:35:16.670" v="12216" actId="20577"/>
          <ac:spMkLst>
            <pc:docMk/>
            <pc:sldMk cId="1780132281" sldId="2134806334"/>
            <ac:spMk id="3" creationId="{B0B1E3C9-3E00-7AF5-9C86-3E21886F5EB9}"/>
          </ac:spMkLst>
        </pc:spChg>
        <pc:spChg chg="add del mod">
          <ac:chgData name="STEPANCHENKO, D. (Dmitrii)" userId="30c9d29d-ac41-46ff-b2be-c3f5dd1e26e1" providerId="ADAL" clId="{F1089F27-2CA7-4F6B-AF97-026CBAF4CD7A}" dt="2023-02-20T17:34:41.076" v="12189" actId="478"/>
          <ac:spMkLst>
            <pc:docMk/>
            <pc:sldMk cId="1780132281" sldId="2134806334"/>
            <ac:spMk id="4" creationId="{068959D8-736E-2816-3A1C-C1169815369D}"/>
          </ac:spMkLst>
        </pc:spChg>
        <pc:spChg chg="add del mod">
          <ac:chgData name="STEPANCHENKO, D. (Dmitrii)" userId="30c9d29d-ac41-46ff-b2be-c3f5dd1e26e1" providerId="ADAL" clId="{F1089F27-2CA7-4F6B-AF97-026CBAF4CD7A}" dt="2023-02-20T17:31:51.005" v="12187" actId="478"/>
          <ac:spMkLst>
            <pc:docMk/>
            <pc:sldMk cId="1780132281" sldId="2134806334"/>
            <ac:spMk id="5" creationId="{A7569A5B-2F63-2116-7D0C-A7D50543D532}"/>
          </ac:spMkLst>
        </pc:spChg>
        <pc:spChg chg="add mod">
          <ac:chgData name="STEPANCHENKO, D. (Dmitrii)" userId="30c9d29d-ac41-46ff-b2be-c3f5dd1e26e1" providerId="ADAL" clId="{F1089F27-2CA7-4F6B-AF97-026CBAF4CD7A}" dt="2023-02-20T17:37:17.503" v="12236" actId="208"/>
          <ac:spMkLst>
            <pc:docMk/>
            <pc:sldMk cId="1780132281" sldId="2134806334"/>
            <ac:spMk id="8" creationId="{B2F3F7D0-E2FB-7BDC-F061-750DD5D32B50}"/>
          </ac:spMkLst>
        </pc:spChg>
        <pc:spChg chg="add mod">
          <ac:chgData name="STEPANCHENKO, D. (Dmitrii)" userId="30c9d29d-ac41-46ff-b2be-c3f5dd1e26e1" providerId="ADAL" clId="{F1089F27-2CA7-4F6B-AF97-026CBAF4CD7A}" dt="2023-02-20T17:41:16.799" v="12243" actId="14100"/>
          <ac:spMkLst>
            <pc:docMk/>
            <pc:sldMk cId="1780132281" sldId="2134806334"/>
            <ac:spMk id="9" creationId="{A3F55059-E027-CEFB-4E48-BF19D4F7FA7D}"/>
          </ac:spMkLst>
        </pc:spChg>
        <pc:spChg chg="add mod">
          <ac:chgData name="STEPANCHENKO, D. (Dmitrii)" userId="30c9d29d-ac41-46ff-b2be-c3f5dd1e26e1" providerId="ADAL" clId="{F1089F27-2CA7-4F6B-AF97-026CBAF4CD7A}" dt="2023-02-20T17:41:11.265" v="12242" actId="14100"/>
          <ac:spMkLst>
            <pc:docMk/>
            <pc:sldMk cId="1780132281" sldId="2134806334"/>
            <ac:spMk id="10" creationId="{D603A433-5961-8530-0D48-E001A79448EF}"/>
          </ac:spMkLst>
        </pc:spChg>
        <pc:picChg chg="add mod">
          <ac:chgData name="STEPANCHENKO, D. (Dmitrii)" userId="30c9d29d-ac41-46ff-b2be-c3f5dd1e26e1" providerId="ADAL" clId="{F1089F27-2CA7-4F6B-AF97-026CBAF4CD7A}" dt="2023-02-20T17:34:48.425" v="12191" actId="14100"/>
          <ac:picMkLst>
            <pc:docMk/>
            <pc:sldMk cId="1780132281" sldId="2134806334"/>
            <ac:picMk id="7" creationId="{F7EADA02-5883-7BF1-60A5-08BEB0F3B29C}"/>
          </ac:picMkLst>
        </pc:picChg>
      </pc:sldChg>
      <pc:sldChg chg="del">
        <pc:chgData name="STEPANCHENKO, D. (Dmitrii)" userId="30c9d29d-ac41-46ff-b2be-c3f5dd1e26e1" providerId="ADAL" clId="{F1089F27-2CA7-4F6B-AF97-026CBAF4CD7A}" dt="2023-02-10T14:12:18.826" v="52" actId="47"/>
        <pc:sldMkLst>
          <pc:docMk/>
          <pc:sldMk cId="3608721573" sldId="2134806334"/>
        </pc:sldMkLst>
      </pc:sldChg>
      <pc:sldChg chg="addSp delSp modSp add mod">
        <pc:chgData name="STEPANCHENKO, D. (Dmitrii)" userId="30c9d29d-ac41-46ff-b2be-c3f5dd1e26e1" providerId="ADAL" clId="{F1089F27-2CA7-4F6B-AF97-026CBAF4CD7A}" dt="2023-02-20T11:52:32.963" v="11333" actId="20577"/>
        <pc:sldMkLst>
          <pc:docMk/>
          <pc:sldMk cId="919593200" sldId="2134806335"/>
        </pc:sldMkLst>
        <pc:spChg chg="mod">
          <ac:chgData name="STEPANCHENKO, D. (Dmitrii)" userId="30c9d29d-ac41-46ff-b2be-c3f5dd1e26e1" providerId="ADAL" clId="{F1089F27-2CA7-4F6B-AF97-026CBAF4CD7A}" dt="2023-02-19T11:16:36.277" v="8688" actId="20577"/>
          <ac:spMkLst>
            <pc:docMk/>
            <pc:sldMk cId="919593200" sldId="2134806335"/>
            <ac:spMk id="3" creationId="{B0B1E3C9-3E00-7AF5-9C86-3E21886F5EB9}"/>
          </ac:spMkLst>
        </pc:spChg>
        <pc:spChg chg="add mod">
          <ac:chgData name="STEPANCHENKO, D. (Dmitrii)" userId="30c9d29d-ac41-46ff-b2be-c3f5dd1e26e1" providerId="ADAL" clId="{F1089F27-2CA7-4F6B-AF97-026CBAF4CD7A}" dt="2023-02-13T17:10:59.997" v="5584" actId="20577"/>
          <ac:spMkLst>
            <pc:docMk/>
            <pc:sldMk cId="919593200" sldId="2134806335"/>
            <ac:spMk id="4" creationId="{5D77D810-4AC7-D87B-BA8E-27877163533D}"/>
          </ac:spMkLst>
        </pc:spChg>
        <pc:spChg chg="add del mod">
          <ac:chgData name="STEPANCHENKO, D. (Dmitrii)" userId="30c9d29d-ac41-46ff-b2be-c3f5dd1e26e1" providerId="ADAL" clId="{F1089F27-2CA7-4F6B-AF97-026CBAF4CD7A}" dt="2023-02-20T10:05:59.168" v="10892" actId="21"/>
          <ac:spMkLst>
            <pc:docMk/>
            <pc:sldMk cId="919593200" sldId="2134806335"/>
            <ac:spMk id="5" creationId="{2BA98D77-929F-B996-6EDF-67FA0AE6F930}"/>
          </ac:spMkLst>
        </pc:spChg>
        <pc:spChg chg="mod">
          <ac:chgData name="STEPANCHENKO, D. (Dmitrii)" userId="30c9d29d-ac41-46ff-b2be-c3f5dd1e26e1" providerId="ADAL" clId="{F1089F27-2CA7-4F6B-AF97-026CBAF4CD7A}" dt="2023-02-20T11:52:32.963" v="11333" actId="20577"/>
          <ac:spMkLst>
            <pc:docMk/>
            <pc:sldMk cId="919593200" sldId="2134806335"/>
            <ac:spMk id="6" creationId="{89C5E2C8-0113-4940-5D12-CA6A1E57CC5A}"/>
          </ac:spMkLst>
        </pc:spChg>
        <pc:spChg chg="add del mod">
          <ac:chgData name="STEPANCHENKO, D. (Dmitrii)" userId="30c9d29d-ac41-46ff-b2be-c3f5dd1e26e1" providerId="ADAL" clId="{F1089F27-2CA7-4F6B-AF97-026CBAF4CD7A}" dt="2023-02-13T17:19:53.072" v="5612" actId="478"/>
          <ac:spMkLst>
            <pc:docMk/>
            <pc:sldMk cId="919593200" sldId="2134806335"/>
            <ac:spMk id="7" creationId="{5D7DF4BC-F1BB-9574-7014-8406D46145FC}"/>
          </ac:spMkLst>
        </pc:spChg>
        <pc:spChg chg="add mod">
          <ac:chgData name="STEPANCHENKO, D. (Dmitrii)" userId="30c9d29d-ac41-46ff-b2be-c3f5dd1e26e1" providerId="ADAL" clId="{F1089F27-2CA7-4F6B-AF97-026CBAF4CD7A}" dt="2023-02-13T17:46:54.760" v="7091" actId="1076"/>
          <ac:spMkLst>
            <pc:docMk/>
            <pc:sldMk cId="919593200" sldId="2134806335"/>
            <ac:spMk id="9" creationId="{6083F27A-4F85-5E93-FC9F-33E75872D5DC}"/>
          </ac:spMkLst>
        </pc:spChg>
        <pc:picChg chg="add mod">
          <ac:chgData name="STEPANCHENKO, D. (Dmitrii)" userId="30c9d29d-ac41-46ff-b2be-c3f5dd1e26e1" providerId="ADAL" clId="{F1089F27-2CA7-4F6B-AF97-026CBAF4CD7A}" dt="2023-02-20T10:07:06.624" v="10907" actId="1076"/>
          <ac:picMkLst>
            <pc:docMk/>
            <pc:sldMk cId="919593200" sldId="2134806335"/>
            <ac:picMk id="11" creationId="{BE7E392A-5539-C76C-6E87-043AB7BF1D3A}"/>
          </ac:picMkLst>
        </pc:picChg>
      </pc:sldChg>
      <pc:sldChg chg="del">
        <pc:chgData name="STEPANCHENKO, D. (Dmitrii)" userId="30c9d29d-ac41-46ff-b2be-c3f5dd1e26e1" providerId="ADAL" clId="{F1089F27-2CA7-4F6B-AF97-026CBAF4CD7A}" dt="2023-02-10T14:12:18.826" v="52" actId="47"/>
        <pc:sldMkLst>
          <pc:docMk/>
          <pc:sldMk cId="3429197109" sldId="2134806335"/>
        </pc:sldMkLst>
      </pc:sldChg>
      <pc:sldChg chg="addSp delSp modSp add mod ord addCm delCm">
        <pc:chgData name="STEPANCHENKO, D. (Dmitrii)" userId="30c9d29d-ac41-46ff-b2be-c3f5dd1e26e1" providerId="ADAL" clId="{F1089F27-2CA7-4F6B-AF97-026CBAF4CD7A}" dt="2023-02-19T12:43:15.189" v="10772"/>
        <pc:sldMkLst>
          <pc:docMk/>
          <pc:sldMk cId="360816652" sldId="2134806336"/>
        </pc:sldMkLst>
        <pc:spChg chg="del">
          <ac:chgData name="STEPANCHENKO, D. (Dmitrii)" userId="30c9d29d-ac41-46ff-b2be-c3f5dd1e26e1" providerId="ADAL" clId="{F1089F27-2CA7-4F6B-AF97-026CBAF4CD7A}" dt="2023-02-12T14:00:06.725" v="4765" actId="478"/>
          <ac:spMkLst>
            <pc:docMk/>
            <pc:sldMk cId="360816652" sldId="2134806336"/>
            <ac:spMk id="4" creationId="{78C03241-F245-4623-A41A-659673385123}"/>
          </ac:spMkLst>
        </pc:spChg>
        <pc:spChg chg="add mod">
          <ac:chgData name="STEPANCHENKO, D. (Dmitrii)" userId="30c9d29d-ac41-46ff-b2be-c3f5dd1e26e1" providerId="ADAL" clId="{F1089F27-2CA7-4F6B-AF97-026CBAF4CD7A}" dt="2023-02-19T09:18:27.907" v="8398" actId="1035"/>
          <ac:spMkLst>
            <pc:docMk/>
            <pc:sldMk cId="360816652" sldId="2134806336"/>
            <ac:spMk id="4" creationId="{FDABCC8D-F6B6-D6C1-D5FE-4F0AB0229A8F}"/>
          </ac:spMkLst>
        </pc:spChg>
        <pc:spChg chg="mod">
          <ac:chgData name="STEPANCHENKO, D. (Dmitrii)" userId="30c9d29d-ac41-46ff-b2be-c3f5dd1e26e1" providerId="ADAL" clId="{F1089F27-2CA7-4F6B-AF97-026CBAF4CD7A}" dt="2023-02-14T15:26:00.712" v="7190" actId="20577"/>
          <ac:spMkLst>
            <pc:docMk/>
            <pc:sldMk cId="360816652" sldId="2134806336"/>
            <ac:spMk id="5" creationId="{81BD1123-3626-1C45-BF5B-1C1864FA8AFA}"/>
          </ac:spMkLst>
        </pc:spChg>
        <pc:picChg chg="mod">
          <ac:chgData name="STEPANCHENKO, D. (Dmitrii)" userId="30c9d29d-ac41-46ff-b2be-c3f5dd1e26e1" providerId="ADAL" clId="{F1089F27-2CA7-4F6B-AF97-026CBAF4CD7A}" dt="2023-02-19T09:18:38.327" v="8401" actId="1076"/>
          <ac:picMkLst>
            <pc:docMk/>
            <pc:sldMk cId="360816652" sldId="2134806336"/>
            <ac:picMk id="6" creationId="{DF5F0D23-00E6-FF40-BDD5-A23D3F9C9BD6}"/>
          </ac:picMkLst>
        </pc:picChg>
      </pc:sldChg>
      <pc:sldChg chg="del">
        <pc:chgData name="STEPANCHENKO, D. (Dmitrii)" userId="30c9d29d-ac41-46ff-b2be-c3f5dd1e26e1" providerId="ADAL" clId="{F1089F27-2CA7-4F6B-AF97-026CBAF4CD7A}" dt="2023-02-10T14:12:18.826" v="52" actId="47"/>
        <pc:sldMkLst>
          <pc:docMk/>
          <pc:sldMk cId="1608794076" sldId="2134806336"/>
        </pc:sldMkLst>
      </pc:sldChg>
      <pc:sldChg chg="addSp delSp modSp add mod">
        <pc:chgData name="STEPANCHENKO, D. (Dmitrii)" userId="30c9d29d-ac41-46ff-b2be-c3f5dd1e26e1" providerId="ADAL" clId="{F1089F27-2CA7-4F6B-AF97-026CBAF4CD7A}" dt="2023-02-19T12:46:38.288" v="10888" actId="313"/>
        <pc:sldMkLst>
          <pc:docMk/>
          <pc:sldMk cId="460272892" sldId="2134806337"/>
        </pc:sldMkLst>
        <pc:spChg chg="mod">
          <ac:chgData name="STEPANCHENKO, D. (Dmitrii)" userId="30c9d29d-ac41-46ff-b2be-c3f5dd1e26e1" providerId="ADAL" clId="{F1089F27-2CA7-4F6B-AF97-026CBAF4CD7A}" dt="2023-02-19T12:40:04.539" v="10712" actId="20577"/>
          <ac:spMkLst>
            <pc:docMk/>
            <pc:sldMk cId="460272892" sldId="2134806337"/>
            <ac:spMk id="3" creationId="{B0B1E3C9-3E00-7AF5-9C86-3E21886F5EB9}"/>
          </ac:spMkLst>
        </pc:spChg>
        <pc:spChg chg="add mod">
          <ac:chgData name="STEPANCHENKO, D. (Dmitrii)" userId="30c9d29d-ac41-46ff-b2be-c3f5dd1e26e1" providerId="ADAL" clId="{F1089F27-2CA7-4F6B-AF97-026CBAF4CD7A}" dt="2023-02-14T15:58:10.996" v="7605"/>
          <ac:spMkLst>
            <pc:docMk/>
            <pc:sldMk cId="460272892" sldId="2134806337"/>
            <ac:spMk id="4" creationId="{07DDE0EA-9321-4A93-FB77-E567B3BF710F}"/>
          </ac:spMkLst>
        </pc:spChg>
        <pc:spChg chg="mod">
          <ac:chgData name="STEPANCHENKO, D. (Dmitrii)" userId="30c9d29d-ac41-46ff-b2be-c3f5dd1e26e1" providerId="ADAL" clId="{F1089F27-2CA7-4F6B-AF97-026CBAF4CD7A}" dt="2023-02-19T12:46:38.288" v="10888" actId="313"/>
          <ac:spMkLst>
            <pc:docMk/>
            <pc:sldMk cId="460272892" sldId="2134806337"/>
            <ac:spMk id="6" creationId="{89C5E2C8-0113-4940-5D12-CA6A1E57CC5A}"/>
          </ac:spMkLst>
        </pc:spChg>
        <pc:picChg chg="add del mod">
          <ac:chgData name="STEPANCHENKO, D. (Dmitrii)" userId="30c9d29d-ac41-46ff-b2be-c3f5dd1e26e1" providerId="ADAL" clId="{F1089F27-2CA7-4F6B-AF97-026CBAF4CD7A}" dt="2023-02-17T16:04:46.176" v="7908" actId="478"/>
          <ac:picMkLst>
            <pc:docMk/>
            <pc:sldMk cId="460272892" sldId="2134806337"/>
            <ac:picMk id="5" creationId="{C5003126-5827-AF40-A28C-DA48F8D081A5}"/>
          </ac:picMkLst>
        </pc:picChg>
      </pc:sldChg>
      <pc:sldChg chg="del">
        <pc:chgData name="STEPANCHENKO, D. (Dmitrii)" userId="30c9d29d-ac41-46ff-b2be-c3f5dd1e26e1" providerId="ADAL" clId="{F1089F27-2CA7-4F6B-AF97-026CBAF4CD7A}" dt="2023-02-10T14:12:18.826" v="52" actId="47"/>
        <pc:sldMkLst>
          <pc:docMk/>
          <pc:sldMk cId="3231236423" sldId="2134806337"/>
        </pc:sldMkLst>
      </pc:sldChg>
      <pc:sldChg chg="addSp delSp modSp add mod ord">
        <pc:chgData name="STEPANCHENKO, D. (Dmitrii)" userId="30c9d29d-ac41-46ff-b2be-c3f5dd1e26e1" providerId="ADAL" clId="{F1089F27-2CA7-4F6B-AF97-026CBAF4CD7A}" dt="2023-02-20T18:50:58.804" v="13635" actId="20577"/>
        <pc:sldMkLst>
          <pc:docMk/>
          <pc:sldMk cId="1069876463" sldId="2134806338"/>
        </pc:sldMkLst>
        <pc:spChg chg="mod">
          <ac:chgData name="STEPANCHENKO, D. (Dmitrii)" userId="30c9d29d-ac41-46ff-b2be-c3f5dd1e26e1" providerId="ADAL" clId="{F1089F27-2CA7-4F6B-AF97-026CBAF4CD7A}" dt="2023-02-20T18:50:58.804" v="13635" actId="20577"/>
          <ac:spMkLst>
            <pc:docMk/>
            <pc:sldMk cId="1069876463" sldId="2134806338"/>
            <ac:spMk id="3" creationId="{B0B1E3C9-3E00-7AF5-9C86-3E21886F5EB9}"/>
          </ac:spMkLst>
        </pc:spChg>
        <pc:spChg chg="add mod">
          <ac:chgData name="STEPANCHENKO, D. (Dmitrii)" userId="30c9d29d-ac41-46ff-b2be-c3f5dd1e26e1" providerId="ADAL" clId="{F1089F27-2CA7-4F6B-AF97-026CBAF4CD7A}" dt="2023-02-20T18:43:14.957" v="13408" actId="20577"/>
          <ac:spMkLst>
            <pc:docMk/>
            <pc:sldMk cId="1069876463" sldId="2134806338"/>
            <ac:spMk id="4" creationId="{6213A319-E093-B264-93D5-F0E245158526}"/>
          </ac:spMkLst>
        </pc:spChg>
        <pc:graphicFrameChg chg="add mod modGraphic">
          <ac:chgData name="STEPANCHENKO, D. (Dmitrii)" userId="30c9d29d-ac41-46ff-b2be-c3f5dd1e26e1" providerId="ADAL" clId="{F1089F27-2CA7-4F6B-AF97-026CBAF4CD7A}" dt="2023-02-20T18:41:22.393" v="13374" actId="1038"/>
          <ac:graphicFrameMkLst>
            <pc:docMk/>
            <pc:sldMk cId="1069876463" sldId="2134806338"/>
            <ac:graphicFrameMk id="5" creationId="{35159511-BB5E-02FD-24F1-3EB217E99BE3}"/>
          </ac:graphicFrameMkLst>
        </pc:graphicFrameChg>
        <pc:graphicFrameChg chg="del">
          <ac:chgData name="STEPANCHENKO, D. (Dmitrii)" userId="30c9d29d-ac41-46ff-b2be-c3f5dd1e26e1" providerId="ADAL" clId="{F1089F27-2CA7-4F6B-AF97-026CBAF4CD7A}" dt="2023-02-17T16:40:10.253" v="8188" actId="478"/>
          <ac:graphicFrameMkLst>
            <pc:docMk/>
            <pc:sldMk cId="1069876463" sldId="2134806338"/>
            <ac:graphicFrameMk id="8" creationId="{B326BF55-CA3B-82CC-C579-DFACB3618447}"/>
          </ac:graphicFrameMkLst>
        </pc:graphicFrameChg>
      </pc:sldChg>
      <pc:sldChg chg="del">
        <pc:chgData name="STEPANCHENKO, D. (Dmitrii)" userId="30c9d29d-ac41-46ff-b2be-c3f5dd1e26e1" providerId="ADAL" clId="{F1089F27-2CA7-4F6B-AF97-026CBAF4CD7A}" dt="2023-02-10T14:12:18.826" v="52" actId="47"/>
        <pc:sldMkLst>
          <pc:docMk/>
          <pc:sldMk cId="1628329711" sldId="2134806338"/>
        </pc:sldMkLst>
      </pc:sldChg>
      <pc:sldChg chg="delSp modSp add mod delAnim">
        <pc:chgData name="STEPANCHENKO, D. (Dmitrii)" userId="30c9d29d-ac41-46ff-b2be-c3f5dd1e26e1" providerId="ADAL" clId="{F1089F27-2CA7-4F6B-AF97-026CBAF4CD7A}" dt="2023-02-20T18:42:03.356" v="13397" actId="20577"/>
        <pc:sldMkLst>
          <pc:docMk/>
          <pc:sldMk cId="902367230" sldId="2134806339"/>
        </pc:sldMkLst>
        <pc:spChg chg="mod">
          <ac:chgData name="STEPANCHENKO, D. (Dmitrii)" userId="30c9d29d-ac41-46ff-b2be-c3f5dd1e26e1" providerId="ADAL" clId="{F1089F27-2CA7-4F6B-AF97-026CBAF4CD7A}" dt="2023-02-19T09:16:34.997" v="8366" actId="20577"/>
          <ac:spMkLst>
            <pc:docMk/>
            <pc:sldMk cId="902367230" sldId="2134806339"/>
            <ac:spMk id="3" creationId="{B0B1E3C9-3E00-7AF5-9C86-3E21886F5EB9}"/>
          </ac:spMkLst>
        </pc:spChg>
        <pc:spChg chg="mod">
          <ac:chgData name="STEPANCHENKO, D. (Dmitrii)" userId="30c9d29d-ac41-46ff-b2be-c3f5dd1e26e1" providerId="ADAL" clId="{F1089F27-2CA7-4F6B-AF97-026CBAF4CD7A}" dt="2023-02-20T18:42:03.356" v="13397" actId="20577"/>
          <ac:spMkLst>
            <pc:docMk/>
            <pc:sldMk cId="902367230" sldId="2134806339"/>
            <ac:spMk id="8" creationId="{B130A157-3EF0-D796-DA89-096BFAE43CBC}"/>
          </ac:spMkLst>
        </pc:spChg>
        <pc:picChg chg="del mod">
          <ac:chgData name="STEPANCHENKO, D. (Dmitrii)" userId="30c9d29d-ac41-46ff-b2be-c3f5dd1e26e1" providerId="ADAL" clId="{F1089F27-2CA7-4F6B-AF97-026CBAF4CD7A}" dt="2023-02-19T12:30:58.009" v="10232" actId="478"/>
          <ac:picMkLst>
            <pc:docMk/>
            <pc:sldMk cId="902367230" sldId="2134806339"/>
            <ac:picMk id="11" creationId="{CC93434C-2656-56A8-A809-6A341D842338}"/>
          </ac:picMkLst>
        </pc:picChg>
      </pc:sldChg>
      <pc:sldChg chg="del">
        <pc:chgData name="STEPANCHENKO, D. (Dmitrii)" userId="30c9d29d-ac41-46ff-b2be-c3f5dd1e26e1" providerId="ADAL" clId="{F1089F27-2CA7-4F6B-AF97-026CBAF4CD7A}" dt="2023-02-10T14:12:18.826" v="52" actId="47"/>
        <pc:sldMkLst>
          <pc:docMk/>
          <pc:sldMk cId="1551122493" sldId="2134806339"/>
        </pc:sldMkLst>
      </pc:sldChg>
      <pc:sldChg chg="addSp delSp modSp add mod">
        <pc:chgData name="STEPANCHENKO, D. (Dmitrii)" userId="30c9d29d-ac41-46ff-b2be-c3f5dd1e26e1" providerId="ADAL" clId="{F1089F27-2CA7-4F6B-AF97-026CBAF4CD7A}" dt="2023-02-20T18:51:08.536" v="13643" actId="20577"/>
        <pc:sldMkLst>
          <pc:docMk/>
          <pc:sldMk cId="228428503" sldId="2134806340"/>
        </pc:sldMkLst>
        <pc:spChg chg="mod">
          <ac:chgData name="STEPANCHENKO, D. (Dmitrii)" userId="30c9d29d-ac41-46ff-b2be-c3f5dd1e26e1" providerId="ADAL" clId="{F1089F27-2CA7-4F6B-AF97-026CBAF4CD7A}" dt="2023-02-20T18:51:08.536" v="13643" actId="20577"/>
          <ac:spMkLst>
            <pc:docMk/>
            <pc:sldMk cId="228428503" sldId="2134806340"/>
            <ac:spMk id="3" creationId="{B0B1E3C9-3E00-7AF5-9C86-3E21886F5EB9}"/>
          </ac:spMkLst>
        </pc:spChg>
        <pc:spChg chg="del mod">
          <ac:chgData name="STEPANCHENKO, D. (Dmitrii)" userId="30c9d29d-ac41-46ff-b2be-c3f5dd1e26e1" providerId="ADAL" clId="{F1089F27-2CA7-4F6B-AF97-026CBAF4CD7A}" dt="2023-02-19T11:31:27.879" v="9170"/>
          <ac:spMkLst>
            <pc:docMk/>
            <pc:sldMk cId="228428503" sldId="2134806340"/>
            <ac:spMk id="4" creationId="{6213A319-E093-B264-93D5-F0E245158526}"/>
          </ac:spMkLst>
        </pc:spChg>
        <pc:spChg chg="add del mod">
          <ac:chgData name="STEPANCHENKO, D. (Dmitrii)" userId="30c9d29d-ac41-46ff-b2be-c3f5dd1e26e1" providerId="ADAL" clId="{F1089F27-2CA7-4F6B-AF97-026CBAF4CD7A}" dt="2023-02-20T18:44:59.121" v="13423" actId="20577"/>
          <ac:spMkLst>
            <pc:docMk/>
            <pc:sldMk cId="228428503" sldId="2134806340"/>
            <ac:spMk id="5" creationId="{B9CF9A2A-671D-70DD-36CC-0F4E4F38C413}"/>
          </ac:spMkLst>
        </pc:spChg>
        <pc:picChg chg="add mod">
          <ac:chgData name="STEPANCHENKO, D. (Dmitrii)" userId="30c9d29d-ac41-46ff-b2be-c3f5dd1e26e1" providerId="ADAL" clId="{F1089F27-2CA7-4F6B-AF97-026CBAF4CD7A}" dt="2023-02-20T17:17:06.284" v="11579" actId="1036"/>
          <ac:picMkLst>
            <pc:docMk/>
            <pc:sldMk cId="228428503" sldId="2134806340"/>
            <ac:picMk id="6" creationId="{F7ABF3C2-BDAA-1879-E06E-A50E3769B7FC}"/>
          </ac:picMkLst>
        </pc:picChg>
      </pc:sldChg>
      <pc:sldChg chg="delSp modSp add mod ord">
        <pc:chgData name="STEPANCHENKO, D. (Dmitrii)" userId="30c9d29d-ac41-46ff-b2be-c3f5dd1e26e1" providerId="ADAL" clId="{F1089F27-2CA7-4F6B-AF97-026CBAF4CD7A}" dt="2023-02-20T11:50:01.208" v="11272" actId="478"/>
        <pc:sldMkLst>
          <pc:docMk/>
          <pc:sldMk cId="737011437" sldId="2134806341"/>
        </pc:sldMkLst>
        <pc:spChg chg="mod">
          <ac:chgData name="STEPANCHENKO, D. (Dmitrii)" userId="30c9d29d-ac41-46ff-b2be-c3f5dd1e26e1" providerId="ADAL" clId="{F1089F27-2CA7-4F6B-AF97-026CBAF4CD7A}" dt="2023-02-20T11:25:29.542" v="11271" actId="255"/>
          <ac:spMkLst>
            <pc:docMk/>
            <pc:sldMk cId="737011437" sldId="2134806341"/>
            <ac:spMk id="4" creationId="{068959D8-736E-2816-3A1C-C1169815369D}"/>
          </ac:spMkLst>
        </pc:spChg>
        <pc:spChg chg="del">
          <ac:chgData name="STEPANCHENKO, D. (Dmitrii)" userId="30c9d29d-ac41-46ff-b2be-c3f5dd1e26e1" providerId="ADAL" clId="{F1089F27-2CA7-4F6B-AF97-026CBAF4CD7A}" dt="2023-02-20T11:50:01.208" v="11272" actId="478"/>
          <ac:spMkLst>
            <pc:docMk/>
            <pc:sldMk cId="737011437" sldId="2134806341"/>
            <ac:spMk id="5" creationId="{A7569A5B-2F63-2116-7D0C-A7D50543D532}"/>
          </ac:spMkLst>
        </pc:spChg>
      </pc:sldChg>
      <pc:sldChg chg="del">
        <pc:chgData name="STEPANCHENKO, D. (Dmitrii)" userId="30c9d29d-ac41-46ff-b2be-c3f5dd1e26e1" providerId="ADAL" clId="{F1089F27-2CA7-4F6B-AF97-026CBAF4CD7A}" dt="2023-02-10T14:12:18.826" v="52" actId="47"/>
        <pc:sldMkLst>
          <pc:docMk/>
          <pc:sldMk cId="4055161192" sldId="2134806341"/>
        </pc:sldMkLst>
      </pc:sldChg>
      <pc:sldChg chg="del">
        <pc:chgData name="STEPANCHENKO, D. (Dmitrii)" userId="30c9d29d-ac41-46ff-b2be-c3f5dd1e26e1" providerId="ADAL" clId="{F1089F27-2CA7-4F6B-AF97-026CBAF4CD7A}" dt="2023-02-10T14:12:18.826" v="52" actId="47"/>
        <pc:sldMkLst>
          <pc:docMk/>
          <pc:sldMk cId="2501858576" sldId="2134806342"/>
        </pc:sldMkLst>
      </pc:sldChg>
      <pc:sldChg chg="del">
        <pc:chgData name="STEPANCHENKO, D. (Dmitrii)" userId="30c9d29d-ac41-46ff-b2be-c3f5dd1e26e1" providerId="ADAL" clId="{F1089F27-2CA7-4F6B-AF97-026CBAF4CD7A}" dt="2023-02-10T14:12:18.826" v="52" actId="47"/>
        <pc:sldMkLst>
          <pc:docMk/>
          <pc:sldMk cId="1681204507" sldId="2134806343"/>
        </pc:sldMkLst>
      </pc:sldChg>
      <pc:sldChg chg="del">
        <pc:chgData name="STEPANCHENKO, D. (Dmitrii)" userId="30c9d29d-ac41-46ff-b2be-c3f5dd1e26e1" providerId="ADAL" clId="{F1089F27-2CA7-4F6B-AF97-026CBAF4CD7A}" dt="2023-02-10T14:12:18.826" v="52" actId="47"/>
        <pc:sldMkLst>
          <pc:docMk/>
          <pc:sldMk cId="3094043980" sldId="2134806344"/>
        </pc:sldMkLst>
      </pc:sldChg>
      <pc:sldChg chg="del">
        <pc:chgData name="STEPANCHENKO, D. (Dmitrii)" userId="30c9d29d-ac41-46ff-b2be-c3f5dd1e26e1" providerId="ADAL" clId="{F1089F27-2CA7-4F6B-AF97-026CBAF4CD7A}" dt="2023-02-10T14:12:18.826" v="52" actId="47"/>
        <pc:sldMkLst>
          <pc:docMk/>
          <pc:sldMk cId="319979765" sldId="2134806345"/>
        </pc:sldMkLst>
      </pc:sldChg>
      <pc:sldChg chg="del">
        <pc:chgData name="STEPANCHENKO, D. (Dmitrii)" userId="30c9d29d-ac41-46ff-b2be-c3f5dd1e26e1" providerId="ADAL" clId="{F1089F27-2CA7-4F6B-AF97-026CBAF4CD7A}" dt="2023-02-10T14:12:18.826" v="52" actId="47"/>
        <pc:sldMkLst>
          <pc:docMk/>
          <pc:sldMk cId="1623928624" sldId="2134806346"/>
        </pc:sldMkLst>
      </pc:sldChg>
      <pc:sldChg chg="del">
        <pc:chgData name="STEPANCHENKO, D. (Dmitrii)" userId="30c9d29d-ac41-46ff-b2be-c3f5dd1e26e1" providerId="ADAL" clId="{F1089F27-2CA7-4F6B-AF97-026CBAF4CD7A}" dt="2023-02-10T14:12:18.826" v="52" actId="47"/>
        <pc:sldMkLst>
          <pc:docMk/>
          <pc:sldMk cId="3986974841" sldId="2134806347"/>
        </pc:sldMkLst>
      </pc:sldChg>
      <pc:sldChg chg="del">
        <pc:chgData name="STEPANCHENKO, D. (Dmitrii)" userId="30c9d29d-ac41-46ff-b2be-c3f5dd1e26e1" providerId="ADAL" clId="{F1089F27-2CA7-4F6B-AF97-026CBAF4CD7A}" dt="2023-02-10T14:12:18.826" v="52" actId="47"/>
        <pc:sldMkLst>
          <pc:docMk/>
          <pc:sldMk cId="3121307498" sldId="2134806348"/>
        </pc:sldMkLst>
      </pc:sldChg>
      <pc:sldChg chg="del">
        <pc:chgData name="STEPANCHENKO, D. (Dmitrii)" userId="30c9d29d-ac41-46ff-b2be-c3f5dd1e26e1" providerId="ADAL" clId="{F1089F27-2CA7-4F6B-AF97-026CBAF4CD7A}" dt="2023-02-10T14:12:18.826" v="52" actId="47"/>
        <pc:sldMkLst>
          <pc:docMk/>
          <pc:sldMk cId="360950131" sldId="2134806349"/>
        </pc:sldMkLst>
      </pc:sldChg>
      <pc:sldChg chg="del">
        <pc:chgData name="STEPANCHENKO, D. (Dmitrii)" userId="30c9d29d-ac41-46ff-b2be-c3f5dd1e26e1" providerId="ADAL" clId="{F1089F27-2CA7-4F6B-AF97-026CBAF4CD7A}" dt="2023-02-10T14:12:18.826" v="52" actId="47"/>
        <pc:sldMkLst>
          <pc:docMk/>
          <pc:sldMk cId="2759589870" sldId="2134806350"/>
        </pc:sldMkLst>
      </pc:sldChg>
      <pc:sldChg chg="del">
        <pc:chgData name="STEPANCHENKO, D. (Dmitrii)" userId="30c9d29d-ac41-46ff-b2be-c3f5dd1e26e1" providerId="ADAL" clId="{F1089F27-2CA7-4F6B-AF97-026CBAF4CD7A}" dt="2023-02-10T14:12:18.826" v="52" actId="47"/>
        <pc:sldMkLst>
          <pc:docMk/>
          <pc:sldMk cId="853866529" sldId="2134806351"/>
        </pc:sldMkLst>
      </pc:sldChg>
      <pc:sldChg chg="del">
        <pc:chgData name="STEPANCHENKO, D. (Dmitrii)" userId="30c9d29d-ac41-46ff-b2be-c3f5dd1e26e1" providerId="ADAL" clId="{F1089F27-2CA7-4F6B-AF97-026CBAF4CD7A}" dt="2023-02-10T14:12:18.826" v="52" actId="47"/>
        <pc:sldMkLst>
          <pc:docMk/>
          <pc:sldMk cId="1653022067" sldId="2134806352"/>
        </pc:sldMkLst>
      </pc:sldChg>
      <pc:sldChg chg="del">
        <pc:chgData name="STEPANCHENKO, D. (Dmitrii)" userId="30c9d29d-ac41-46ff-b2be-c3f5dd1e26e1" providerId="ADAL" clId="{F1089F27-2CA7-4F6B-AF97-026CBAF4CD7A}" dt="2023-02-10T14:12:18.826" v="52" actId="47"/>
        <pc:sldMkLst>
          <pc:docMk/>
          <pc:sldMk cId="3668568787" sldId="2134806353"/>
        </pc:sldMkLst>
      </pc:sldChg>
      <pc:sldChg chg="del">
        <pc:chgData name="STEPANCHENKO, D. (Dmitrii)" userId="30c9d29d-ac41-46ff-b2be-c3f5dd1e26e1" providerId="ADAL" clId="{F1089F27-2CA7-4F6B-AF97-026CBAF4CD7A}" dt="2023-02-10T14:12:18.826" v="52" actId="47"/>
        <pc:sldMkLst>
          <pc:docMk/>
          <pc:sldMk cId="1098944605" sldId="2134806354"/>
        </pc:sldMkLst>
      </pc:sldChg>
      <pc:sldChg chg="del">
        <pc:chgData name="STEPANCHENKO, D. (Dmitrii)" userId="30c9d29d-ac41-46ff-b2be-c3f5dd1e26e1" providerId="ADAL" clId="{F1089F27-2CA7-4F6B-AF97-026CBAF4CD7A}" dt="2023-02-10T14:12:18.826" v="52" actId="47"/>
        <pc:sldMkLst>
          <pc:docMk/>
          <pc:sldMk cId="2104593195" sldId="2134806355"/>
        </pc:sldMkLst>
      </pc:sldChg>
      <pc:sldChg chg="del">
        <pc:chgData name="STEPANCHENKO, D. (Dmitrii)" userId="30c9d29d-ac41-46ff-b2be-c3f5dd1e26e1" providerId="ADAL" clId="{F1089F27-2CA7-4F6B-AF97-026CBAF4CD7A}" dt="2023-02-10T14:12:18.826" v="52" actId="47"/>
        <pc:sldMkLst>
          <pc:docMk/>
          <pc:sldMk cId="3369279782" sldId="2134806356"/>
        </pc:sldMkLst>
      </pc:sldChg>
      <pc:sldChg chg="del">
        <pc:chgData name="STEPANCHENKO, D. (Dmitrii)" userId="30c9d29d-ac41-46ff-b2be-c3f5dd1e26e1" providerId="ADAL" clId="{F1089F27-2CA7-4F6B-AF97-026CBAF4CD7A}" dt="2023-02-10T14:12:18.826" v="52" actId="47"/>
        <pc:sldMkLst>
          <pc:docMk/>
          <pc:sldMk cId="507477719" sldId="2134806357"/>
        </pc:sldMkLst>
      </pc:sldChg>
      <pc:sldChg chg="del">
        <pc:chgData name="STEPANCHENKO, D. (Dmitrii)" userId="30c9d29d-ac41-46ff-b2be-c3f5dd1e26e1" providerId="ADAL" clId="{F1089F27-2CA7-4F6B-AF97-026CBAF4CD7A}" dt="2023-02-10T14:12:18.826" v="52" actId="47"/>
        <pc:sldMkLst>
          <pc:docMk/>
          <pc:sldMk cId="1026104641" sldId="2134806359"/>
        </pc:sldMkLst>
      </pc:sldChg>
      <pc:sldChg chg="del">
        <pc:chgData name="STEPANCHENKO, D. (Dmitrii)" userId="30c9d29d-ac41-46ff-b2be-c3f5dd1e26e1" providerId="ADAL" clId="{F1089F27-2CA7-4F6B-AF97-026CBAF4CD7A}" dt="2023-02-10T14:12:18.826" v="52" actId="47"/>
        <pc:sldMkLst>
          <pc:docMk/>
          <pc:sldMk cId="3050701029" sldId="2134806360"/>
        </pc:sldMkLst>
      </pc:sldChg>
      <pc:sldChg chg="del">
        <pc:chgData name="STEPANCHENKO, D. (Dmitrii)" userId="30c9d29d-ac41-46ff-b2be-c3f5dd1e26e1" providerId="ADAL" clId="{F1089F27-2CA7-4F6B-AF97-026CBAF4CD7A}" dt="2023-02-10T14:12:18.826" v="52" actId="47"/>
        <pc:sldMkLst>
          <pc:docMk/>
          <pc:sldMk cId="150677344" sldId="2134806361"/>
        </pc:sldMkLst>
      </pc:sldChg>
      <pc:sldChg chg="del">
        <pc:chgData name="STEPANCHENKO, D. (Dmitrii)" userId="30c9d29d-ac41-46ff-b2be-c3f5dd1e26e1" providerId="ADAL" clId="{F1089F27-2CA7-4F6B-AF97-026CBAF4CD7A}" dt="2023-02-10T14:12:18.826" v="52" actId="47"/>
        <pc:sldMkLst>
          <pc:docMk/>
          <pc:sldMk cId="2024875999" sldId="2134806362"/>
        </pc:sldMkLst>
      </pc:sldChg>
      <pc:sldChg chg="del">
        <pc:chgData name="STEPANCHENKO, D. (Dmitrii)" userId="30c9d29d-ac41-46ff-b2be-c3f5dd1e26e1" providerId="ADAL" clId="{F1089F27-2CA7-4F6B-AF97-026CBAF4CD7A}" dt="2023-02-10T14:12:18.826" v="52" actId="47"/>
        <pc:sldMkLst>
          <pc:docMk/>
          <pc:sldMk cId="1030256302" sldId="2134806363"/>
        </pc:sldMkLst>
      </pc:sldChg>
      <pc:sldChg chg="del">
        <pc:chgData name="STEPANCHENKO, D. (Dmitrii)" userId="30c9d29d-ac41-46ff-b2be-c3f5dd1e26e1" providerId="ADAL" clId="{F1089F27-2CA7-4F6B-AF97-026CBAF4CD7A}" dt="2023-02-10T14:12:18.826" v="52" actId="47"/>
        <pc:sldMkLst>
          <pc:docMk/>
          <pc:sldMk cId="2170462522" sldId="2134806364"/>
        </pc:sldMkLst>
      </pc:sldChg>
      <pc:sldChg chg="del">
        <pc:chgData name="STEPANCHENKO, D. (Dmitrii)" userId="30c9d29d-ac41-46ff-b2be-c3f5dd1e26e1" providerId="ADAL" clId="{F1089F27-2CA7-4F6B-AF97-026CBAF4CD7A}" dt="2023-02-10T14:12:18.826" v="52" actId="47"/>
        <pc:sldMkLst>
          <pc:docMk/>
          <pc:sldMk cId="2009647800" sldId="2134806365"/>
        </pc:sldMkLst>
      </pc:sldChg>
      <pc:sldMasterChg chg="delSldLayout">
        <pc:chgData name="STEPANCHENKO, D. (Dmitrii)" userId="30c9d29d-ac41-46ff-b2be-c3f5dd1e26e1" providerId="ADAL" clId="{F1089F27-2CA7-4F6B-AF97-026CBAF4CD7A}" dt="2023-02-12T14:17:08.866" v="5120" actId="47"/>
        <pc:sldMasterMkLst>
          <pc:docMk/>
          <pc:sldMasterMk cId="1649149998" sldId="2147485410"/>
        </pc:sldMasterMkLst>
        <pc:sldLayoutChg chg="del">
          <pc:chgData name="STEPANCHENKO, D. (Dmitrii)" userId="30c9d29d-ac41-46ff-b2be-c3f5dd1e26e1" providerId="ADAL" clId="{F1089F27-2CA7-4F6B-AF97-026CBAF4CD7A}" dt="2023-02-12T14:17:08.866" v="5120" actId="47"/>
          <pc:sldLayoutMkLst>
            <pc:docMk/>
            <pc:sldMasterMk cId="1649149998" sldId="2147485410"/>
            <pc:sldLayoutMk cId="3383749418" sldId="2147485451"/>
          </pc:sldLayoutMkLst>
        </pc:sldLayoutChg>
      </pc:sldMasterChg>
    </pc:docChg>
  </pc:docChgLst>
  <pc:docChgLst>
    <pc:chgData name="STEPANCHENKO, D. (Dmitrii)" userId="30c9d29d-ac41-46ff-b2be-c3f5dd1e26e1" providerId="ADAL" clId="{6AAC7FF4-A7AB-4DB2-AAE2-E1C397793EF0}"/>
    <pc:docChg chg="undo redo custSel addSld delSld modSld modSection">
      <pc:chgData name="STEPANCHENKO, D. (Dmitrii)" userId="30c9d29d-ac41-46ff-b2be-c3f5dd1e26e1" providerId="ADAL" clId="{6AAC7FF4-A7AB-4DB2-AAE2-E1C397793EF0}" dt="2022-12-14T17:11:28.404" v="256" actId="478"/>
      <pc:docMkLst>
        <pc:docMk/>
      </pc:docMkLst>
      <pc:sldChg chg="modSp mod">
        <pc:chgData name="STEPANCHENKO, D. (Dmitrii)" userId="30c9d29d-ac41-46ff-b2be-c3f5dd1e26e1" providerId="ADAL" clId="{6AAC7FF4-A7AB-4DB2-AAE2-E1C397793EF0}" dt="2022-12-14T16:52:04.716" v="44" actId="20577"/>
        <pc:sldMkLst>
          <pc:docMk/>
          <pc:sldMk cId="4146022198" sldId="2134806269"/>
        </pc:sldMkLst>
        <pc:spChg chg="mod">
          <ac:chgData name="STEPANCHENKO, D. (Dmitrii)" userId="30c9d29d-ac41-46ff-b2be-c3f5dd1e26e1" providerId="ADAL" clId="{6AAC7FF4-A7AB-4DB2-AAE2-E1C397793EF0}" dt="2022-12-14T16:52:04.716" v="44" actId="20577"/>
          <ac:spMkLst>
            <pc:docMk/>
            <pc:sldMk cId="4146022198" sldId="2134806269"/>
            <ac:spMk id="9" creationId="{0321E1AF-71DF-9F4F-49D4-42B6DEF18470}"/>
          </ac:spMkLst>
        </pc:spChg>
      </pc:sldChg>
      <pc:sldChg chg="modSp mod">
        <pc:chgData name="STEPANCHENKO, D. (Dmitrii)" userId="30c9d29d-ac41-46ff-b2be-c3f5dd1e26e1" providerId="ADAL" clId="{6AAC7FF4-A7AB-4DB2-AAE2-E1C397793EF0}" dt="2022-12-14T16:55:28.074" v="80" actId="20577"/>
        <pc:sldMkLst>
          <pc:docMk/>
          <pc:sldMk cId="3806807723" sldId="2134806271"/>
        </pc:sldMkLst>
        <pc:graphicFrameChg chg="modGraphic">
          <ac:chgData name="STEPANCHENKO, D. (Dmitrii)" userId="30c9d29d-ac41-46ff-b2be-c3f5dd1e26e1" providerId="ADAL" clId="{6AAC7FF4-A7AB-4DB2-AAE2-E1C397793EF0}" dt="2022-12-14T16:55:28.074" v="80" actId="20577"/>
          <ac:graphicFrameMkLst>
            <pc:docMk/>
            <pc:sldMk cId="3806807723" sldId="2134806271"/>
            <ac:graphicFrameMk id="4" creationId="{4FA4670E-7F8F-F66C-8A96-9C378A643C68}"/>
          </ac:graphicFrameMkLst>
        </pc:graphicFrameChg>
      </pc:sldChg>
      <pc:sldChg chg="addSp delSp modSp mod">
        <pc:chgData name="STEPANCHENKO, D. (Dmitrii)" userId="30c9d29d-ac41-46ff-b2be-c3f5dd1e26e1" providerId="ADAL" clId="{6AAC7FF4-A7AB-4DB2-AAE2-E1C397793EF0}" dt="2022-12-14T17:11:20.739" v="255" actId="20577"/>
        <pc:sldMkLst>
          <pc:docMk/>
          <pc:sldMk cId="4005348636" sldId="2134806275"/>
        </pc:sldMkLst>
        <pc:spChg chg="mod">
          <ac:chgData name="STEPANCHENKO, D. (Dmitrii)" userId="30c9d29d-ac41-46ff-b2be-c3f5dd1e26e1" providerId="ADAL" clId="{6AAC7FF4-A7AB-4DB2-AAE2-E1C397793EF0}" dt="2022-12-14T17:11:20.739" v="255" actId="20577"/>
          <ac:spMkLst>
            <pc:docMk/>
            <pc:sldMk cId="4005348636" sldId="2134806275"/>
            <ac:spMk id="6" creationId="{55DC015C-12FE-A55C-DF36-68759984506F}"/>
          </ac:spMkLst>
        </pc:spChg>
        <pc:spChg chg="add del mod">
          <ac:chgData name="STEPANCHENKO, D. (Dmitrii)" userId="30c9d29d-ac41-46ff-b2be-c3f5dd1e26e1" providerId="ADAL" clId="{6AAC7FF4-A7AB-4DB2-AAE2-E1C397793EF0}" dt="2022-12-14T16:59:21.622" v="178" actId="478"/>
          <ac:spMkLst>
            <pc:docMk/>
            <pc:sldMk cId="4005348636" sldId="2134806275"/>
            <ac:spMk id="7" creationId="{3C481758-00F6-42FE-B8B2-008E0FDCECFC}"/>
          </ac:spMkLst>
        </pc:spChg>
        <pc:spChg chg="add mod">
          <ac:chgData name="STEPANCHENKO, D. (Dmitrii)" userId="30c9d29d-ac41-46ff-b2be-c3f5dd1e26e1" providerId="ADAL" clId="{6AAC7FF4-A7AB-4DB2-AAE2-E1C397793EF0}" dt="2022-12-14T17:03:15.472" v="248" actId="1076"/>
          <ac:spMkLst>
            <pc:docMk/>
            <pc:sldMk cId="4005348636" sldId="2134806275"/>
            <ac:spMk id="8" creationId="{9EBC456F-B5A9-419C-BE04-72F06FDA7584}"/>
          </ac:spMkLst>
        </pc:spChg>
        <pc:graphicFrameChg chg="mod">
          <ac:chgData name="STEPANCHENKO, D. (Dmitrii)" userId="30c9d29d-ac41-46ff-b2be-c3f5dd1e26e1" providerId="ADAL" clId="{6AAC7FF4-A7AB-4DB2-AAE2-E1C397793EF0}" dt="2022-12-14T17:03:22.394" v="250" actId="14100"/>
          <ac:graphicFrameMkLst>
            <pc:docMk/>
            <pc:sldMk cId="4005348636" sldId="2134806275"/>
            <ac:graphicFrameMk id="4" creationId="{11CFC757-5727-5D67-8831-9EC4CE6B6F84}"/>
          </ac:graphicFrameMkLst>
        </pc:graphicFrameChg>
        <pc:graphicFrameChg chg="mod">
          <ac:chgData name="STEPANCHENKO, D. (Dmitrii)" userId="30c9d29d-ac41-46ff-b2be-c3f5dd1e26e1" providerId="ADAL" clId="{6AAC7FF4-A7AB-4DB2-AAE2-E1C397793EF0}" dt="2022-12-14T17:03:22.394" v="250" actId="14100"/>
          <ac:graphicFrameMkLst>
            <pc:docMk/>
            <pc:sldMk cId="4005348636" sldId="2134806275"/>
            <ac:graphicFrameMk id="11" creationId="{B2FF438D-1B50-288E-3939-8606CECB8F6D}"/>
          </ac:graphicFrameMkLst>
        </pc:graphicFrameChg>
        <pc:picChg chg="add del mod">
          <ac:chgData name="STEPANCHENKO, D. (Dmitrii)" userId="30c9d29d-ac41-46ff-b2be-c3f5dd1e26e1" providerId="ADAL" clId="{6AAC7FF4-A7AB-4DB2-AAE2-E1C397793EF0}" dt="2022-12-14T17:10:40.419" v="251" actId="478"/>
          <ac:picMkLst>
            <pc:docMk/>
            <pc:sldMk cId="4005348636" sldId="2134806275"/>
            <ac:picMk id="3" creationId="{00000000-0000-0000-0000-000000000000}"/>
          </ac:picMkLst>
        </pc:picChg>
      </pc:sldChg>
      <pc:sldChg chg="modSp mod">
        <pc:chgData name="STEPANCHENKO, D. (Dmitrii)" userId="30c9d29d-ac41-46ff-b2be-c3f5dd1e26e1" providerId="ADAL" clId="{6AAC7FF4-A7AB-4DB2-AAE2-E1C397793EF0}" dt="2022-12-14T16:56:56.040" v="154" actId="14100"/>
        <pc:sldMkLst>
          <pc:docMk/>
          <pc:sldMk cId="2322687294" sldId="2134806289"/>
        </pc:sldMkLst>
        <pc:spChg chg="mod">
          <ac:chgData name="STEPANCHENKO, D. (Dmitrii)" userId="30c9d29d-ac41-46ff-b2be-c3f5dd1e26e1" providerId="ADAL" clId="{6AAC7FF4-A7AB-4DB2-AAE2-E1C397793EF0}" dt="2022-12-14T16:55:31.550" v="83" actId="20577"/>
          <ac:spMkLst>
            <pc:docMk/>
            <pc:sldMk cId="2322687294" sldId="2134806289"/>
            <ac:spMk id="5" creationId="{81BD1123-3626-1C45-BF5B-1C1864FA8AFA}"/>
          </ac:spMkLst>
        </pc:spChg>
        <pc:spChg chg="mod">
          <ac:chgData name="STEPANCHENKO, D. (Dmitrii)" userId="30c9d29d-ac41-46ff-b2be-c3f5dd1e26e1" providerId="ADAL" clId="{6AAC7FF4-A7AB-4DB2-AAE2-E1C397793EF0}" dt="2022-12-14T16:56:56.040" v="154" actId="14100"/>
          <ac:spMkLst>
            <pc:docMk/>
            <pc:sldMk cId="2322687294" sldId="2134806289"/>
            <ac:spMk id="6" creationId="{7304A516-7872-1BDB-C272-35B46237BDC5}"/>
          </ac:spMkLst>
        </pc:spChg>
        <pc:spChg chg="mod">
          <ac:chgData name="STEPANCHENKO, D. (Dmitrii)" userId="30c9d29d-ac41-46ff-b2be-c3f5dd1e26e1" providerId="ADAL" clId="{6AAC7FF4-A7AB-4DB2-AAE2-E1C397793EF0}" dt="2022-12-14T16:55:00.139" v="50" actId="20577"/>
          <ac:spMkLst>
            <pc:docMk/>
            <pc:sldMk cId="2322687294" sldId="2134806289"/>
            <ac:spMk id="7" creationId="{CF7A709A-ACDD-6ACC-C04E-047E625272FA}"/>
          </ac:spMkLst>
        </pc:spChg>
        <pc:graphicFrameChg chg="mod">
          <ac:chgData name="STEPANCHENKO, D. (Dmitrii)" userId="30c9d29d-ac41-46ff-b2be-c3f5dd1e26e1" providerId="ADAL" clId="{6AAC7FF4-A7AB-4DB2-AAE2-E1C397793EF0}" dt="2022-12-14T16:56:01.526" v="85" actId="14100"/>
          <ac:graphicFrameMkLst>
            <pc:docMk/>
            <pc:sldMk cId="2322687294" sldId="2134806289"/>
            <ac:graphicFrameMk id="3" creationId="{A12E7895-C2CC-4F97-8797-1EDFDB6BAB8A}"/>
          </ac:graphicFrameMkLst>
        </pc:graphicFrameChg>
      </pc:sldChg>
      <pc:sldChg chg="del">
        <pc:chgData name="STEPANCHENKO, D. (Dmitrii)" userId="30c9d29d-ac41-46ff-b2be-c3f5dd1e26e1" providerId="ADAL" clId="{6AAC7FF4-A7AB-4DB2-AAE2-E1C397793EF0}" dt="2022-12-14T17:10:54.475" v="253" actId="47"/>
        <pc:sldMkLst>
          <pc:docMk/>
          <pc:sldMk cId="2729030925" sldId="2134806298"/>
        </pc:sldMkLst>
      </pc:sldChg>
      <pc:sldChg chg="modSp mod">
        <pc:chgData name="STEPANCHENKO, D. (Dmitrii)" userId="30c9d29d-ac41-46ff-b2be-c3f5dd1e26e1" providerId="ADAL" clId="{6AAC7FF4-A7AB-4DB2-AAE2-E1C397793EF0}" dt="2022-12-14T15:17:44.901" v="1" actId="1076"/>
        <pc:sldMkLst>
          <pc:docMk/>
          <pc:sldMk cId="1455295070" sldId="2134806318"/>
        </pc:sldMkLst>
        <pc:picChg chg="mod">
          <ac:chgData name="STEPANCHENKO, D. (Dmitrii)" userId="30c9d29d-ac41-46ff-b2be-c3f5dd1e26e1" providerId="ADAL" clId="{6AAC7FF4-A7AB-4DB2-AAE2-E1C397793EF0}" dt="2022-12-14T15:17:44.901" v="1" actId="1076"/>
          <ac:picMkLst>
            <pc:docMk/>
            <pc:sldMk cId="1455295070" sldId="2134806318"/>
            <ac:picMk id="9" creationId="{C3A39222-90C1-4ECB-75D5-5E782010CDE5}"/>
          </ac:picMkLst>
        </pc:picChg>
      </pc:sldChg>
      <pc:sldChg chg="delSp modSp mod">
        <pc:chgData name="STEPANCHENKO, D. (Dmitrii)" userId="30c9d29d-ac41-46ff-b2be-c3f5dd1e26e1" providerId="ADAL" clId="{6AAC7FF4-A7AB-4DB2-AAE2-E1C397793EF0}" dt="2022-12-14T17:11:28.404" v="256" actId="478"/>
        <pc:sldMkLst>
          <pc:docMk/>
          <pc:sldMk cId="4070705944" sldId="2134806325"/>
        </pc:sldMkLst>
        <pc:spChg chg="del mod">
          <ac:chgData name="STEPANCHENKO, D. (Dmitrii)" userId="30c9d29d-ac41-46ff-b2be-c3f5dd1e26e1" providerId="ADAL" clId="{6AAC7FF4-A7AB-4DB2-AAE2-E1C397793EF0}" dt="2022-12-14T17:11:28.404" v="256" actId="478"/>
          <ac:spMkLst>
            <pc:docMk/>
            <pc:sldMk cId="4070705944" sldId="2134806325"/>
            <ac:spMk id="6" creationId="{55DC015C-12FE-A55C-DF36-68759984506F}"/>
          </ac:spMkLst>
        </pc:spChg>
      </pc:sldChg>
      <pc:sldChg chg="add">
        <pc:chgData name="STEPANCHENKO, D. (Dmitrii)" userId="30c9d29d-ac41-46ff-b2be-c3f5dd1e26e1" providerId="ADAL" clId="{6AAC7FF4-A7AB-4DB2-AAE2-E1C397793EF0}" dt="2022-12-14T17:10:52.883" v="252"/>
        <pc:sldMkLst>
          <pc:docMk/>
          <pc:sldMk cId="521703837" sldId="2134806326"/>
        </pc:sldMkLst>
      </pc:sldChg>
    </pc:docChg>
  </pc:docChgLst>
  <pc:docChgLst>
    <pc:chgData name="STEPANCHENKO, D. (Dmitrii)" userId="30c9d29d-ac41-46ff-b2be-c3f5dd1e26e1" providerId="ADAL" clId="{B3A474F3-5485-4A93-8981-1E68ACC9F057}"/>
    <pc:docChg chg="undo redo custSel addSld delSld modSld sldOrd modSection">
      <pc:chgData name="STEPANCHENKO, D. (Dmitrii)" userId="30c9d29d-ac41-46ff-b2be-c3f5dd1e26e1" providerId="ADAL" clId="{B3A474F3-5485-4A93-8981-1E68ACC9F057}" dt="2023-02-05T11:31:56.483" v="8487" actId="20577"/>
      <pc:docMkLst>
        <pc:docMk/>
      </pc:docMkLst>
      <pc:sldChg chg="addSp delSp modSp mod modAnim">
        <pc:chgData name="STEPANCHENKO, D. (Dmitrii)" userId="30c9d29d-ac41-46ff-b2be-c3f5dd1e26e1" providerId="ADAL" clId="{B3A474F3-5485-4A93-8981-1E68ACC9F057}" dt="2023-02-05T08:24:05.215" v="6837" actId="207"/>
        <pc:sldMkLst>
          <pc:docMk/>
          <pc:sldMk cId="4146022198" sldId="2134806269"/>
        </pc:sldMkLst>
        <pc:spChg chg="mod">
          <ac:chgData name="STEPANCHENKO, D. (Dmitrii)" userId="30c9d29d-ac41-46ff-b2be-c3f5dd1e26e1" providerId="ADAL" clId="{B3A474F3-5485-4A93-8981-1E68ACC9F057}" dt="2023-02-05T08:22:29.692" v="6785" actId="14100"/>
          <ac:spMkLst>
            <pc:docMk/>
            <pc:sldMk cId="4146022198" sldId="2134806269"/>
            <ac:spMk id="4" creationId="{E704B17B-2B24-A94D-BEEB-3665EC84CBC2}"/>
          </ac:spMkLst>
        </pc:spChg>
        <pc:spChg chg="add del mod">
          <ac:chgData name="STEPANCHENKO, D. (Dmitrii)" userId="30c9d29d-ac41-46ff-b2be-c3f5dd1e26e1" providerId="ADAL" clId="{B3A474F3-5485-4A93-8981-1E68ACC9F057}" dt="2023-02-05T08:24:05.215" v="6837" actId="207"/>
          <ac:spMkLst>
            <pc:docMk/>
            <pc:sldMk cId="4146022198" sldId="2134806269"/>
            <ac:spMk id="7" creationId="{62918792-EAC4-5F14-CC7D-8D916E348FD3}"/>
          </ac:spMkLst>
        </pc:spChg>
        <pc:spChg chg="add mod">
          <ac:chgData name="STEPANCHENKO, D. (Dmitrii)" userId="30c9d29d-ac41-46ff-b2be-c3f5dd1e26e1" providerId="ADAL" clId="{B3A474F3-5485-4A93-8981-1E68ACC9F057}" dt="2023-02-05T08:22:46.962" v="6806" actId="208"/>
          <ac:spMkLst>
            <pc:docMk/>
            <pc:sldMk cId="4146022198" sldId="2134806269"/>
            <ac:spMk id="9" creationId="{968CB89E-20B5-4BBC-BA46-1FE880EA4105}"/>
          </ac:spMkLst>
        </pc:spChg>
        <pc:spChg chg="add mod">
          <ac:chgData name="STEPANCHENKO, D. (Dmitrii)" userId="30c9d29d-ac41-46ff-b2be-c3f5dd1e26e1" providerId="ADAL" clId="{B3A474F3-5485-4A93-8981-1E68ACC9F057}" dt="2023-02-05T08:23:04.143" v="6809" actId="14100"/>
          <ac:spMkLst>
            <pc:docMk/>
            <pc:sldMk cId="4146022198" sldId="2134806269"/>
            <ac:spMk id="10" creationId="{4869BF0D-F006-5AE4-794D-9139713FBEC1}"/>
          </ac:spMkLst>
        </pc:spChg>
        <pc:spChg chg="add mod">
          <ac:chgData name="STEPANCHENKO, D. (Dmitrii)" userId="30c9d29d-ac41-46ff-b2be-c3f5dd1e26e1" providerId="ADAL" clId="{B3A474F3-5485-4A93-8981-1E68ACC9F057}" dt="2023-02-05T08:24:01.886" v="6836" actId="207"/>
          <ac:spMkLst>
            <pc:docMk/>
            <pc:sldMk cId="4146022198" sldId="2134806269"/>
            <ac:spMk id="11" creationId="{28C1EB04-4739-1CAB-75E8-2DAFBE8FCDFF}"/>
          </ac:spMkLst>
        </pc:spChg>
      </pc:sldChg>
      <pc:sldChg chg="modSp mod ord">
        <pc:chgData name="STEPANCHENKO, D. (Dmitrii)" userId="30c9d29d-ac41-46ff-b2be-c3f5dd1e26e1" providerId="ADAL" clId="{B3A474F3-5485-4A93-8981-1E68ACC9F057}" dt="2023-02-04T09:10:11.194" v="5665" actId="20577"/>
        <pc:sldMkLst>
          <pc:docMk/>
          <pc:sldMk cId="1987294738" sldId="2134806293"/>
        </pc:sldMkLst>
        <pc:spChg chg="mod">
          <ac:chgData name="STEPANCHENKO, D. (Dmitrii)" userId="30c9d29d-ac41-46ff-b2be-c3f5dd1e26e1" providerId="ADAL" clId="{B3A474F3-5485-4A93-8981-1E68ACC9F057}" dt="2023-02-04T09:10:11.194" v="5665" actId="20577"/>
          <ac:spMkLst>
            <pc:docMk/>
            <pc:sldMk cId="1987294738" sldId="2134806293"/>
            <ac:spMk id="5" creationId="{81BD1123-3626-1C45-BF5B-1C1864FA8AFA}"/>
          </ac:spMkLst>
        </pc:spChg>
        <pc:spChg chg="mod">
          <ac:chgData name="STEPANCHENKO, D. (Dmitrii)" userId="30c9d29d-ac41-46ff-b2be-c3f5dd1e26e1" providerId="ADAL" clId="{B3A474F3-5485-4A93-8981-1E68ACC9F057}" dt="2023-02-04T07:31:11.985" v="5509" actId="1035"/>
          <ac:spMkLst>
            <pc:docMk/>
            <pc:sldMk cId="1987294738" sldId="2134806293"/>
            <ac:spMk id="11" creationId="{4A89C080-E02A-4114-9A18-64ED1A28D56E}"/>
          </ac:spMkLst>
        </pc:spChg>
      </pc:sldChg>
      <pc:sldChg chg="addSp modSp mod">
        <pc:chgData name="STEPANCHENKO, D. (Dmitrii)" userId="30c9d29d-ac41-46ff-b2be-c3f5dd1e26e1" providerId="ADAL" clId="{B3A474F3-5485-4A93-8981-1E68ACC9F057}" dt="2023-02-05T10:41:23.544" v="7333" actId="13926"/>
        <pc:sldMkLst>
          <pc:docMk/>
          <pc:sldMk cId="3274818839" sldId="2134806329"/>
        </pc:sldMkLst>
        <pc:spChg chg="add mod">
          <ac:chgData name="STEPANCHENKO, D. (Dmitrii)" userId="30c9d29d-ac41-46ff-b2be-c3f5dd1e26e1" providerId="ADAL" clId="{B3A474F3-5485-4A93-8981-1E68ACC9F057}" dt="2023-02-04T09:03:15.649" v="5659" actId="1035"/>
          <ac:spMkLst>
            <pc:docMk/>
            <pc:sldMk cId="3274818839" sldId="2134806329"/>
            <ac:spMk id="3" creationId="{259C6787-EEAB-99FE-A5A1-045652EF1AC3}"/>
          </ac:spMkLst>
        </pc:spChg>
        <pc:spChg chg="mod">
          <ac:chgData name="STEPANCHENKO, D. (Dmitrii)" userId="30c9d29d-ac41-46ff-b2be-c3f5dd1e26e1" providerId="ADAL" clId="{B3A474F3-5485-4A93-8981-1E68ACC9F057}" dt="2023-02-04T09:10:03.959" v="5663" actId="20577"/>
          <ac:spMkLst>
            <pc:docMk/>
            <pc:sldMk cId="3274818839" sldId="2134806329"/>
            <ac:spMk id="5" creationId="{81BD1123-3626-1C45-BF5B-1C1864FA8AFA}"/>
          </ac:spMkLst>
        </pc:spChg>
        <pc:spChg chg="mod">
          <ac:chgData name="STEPANCHENKO, D. (Dmitrii)" userId="30c9d29d-ac41-46ff-b2be-c3f5dd1e26e1" providerId="ADAL" clId="{B3A474F3-5485-4A93-8981-1E68ACC9F057}" dt="2023-02-05T10:41:23.544" v="7333" actId="13926"/>
          <ac:spMkLst>
            <pc:docMk/>
            <pc:sldMk cId="3274818839" sldId="2134806329"/>
            <ac:spMk id="7" creationId="{05E61C94-C306-46A7-941B-5C78E82C67F8}"/>
          </ac:spMkLst>
        </pc:spChg>
        <pc:spChg chg="mod">
          <ac:chgData name="STEPANCHENKO, D. (Dmitrii)" userId="30c9d29d-ac41-46ff-b2be-c3f5dd1e26e1" providerId="ADAL" clId="{B3A474F3-5485-4A93-8981-1E68ACC9F057}" dt="2023-02-05T10:41:21.276" v="7332" actId="13926"/>
          <ac:spMkLst>
            <pc:docMk/>
            <pc:sldMk cId="3274818839" sldId="2134806329"/>
            <ac:spMk id="8" creationId="{02AC0575-0834-48E1-901C-A185C8F7BA93}"/>
          </ac:spMkLst>
        </pc:spChg>
      </pc:sldChg>
      <pc:sldChg chg="modSp mod">
        <pc:chgData name="STEPANCHENKO, D. (Dmitrii)" userId="30c9d29d-ac41-46ff-b2be-c3f5dd1e26e1" providerId="ADAL" clId="{B3A474F3-5485-4A93-8981-1E68ACC9F057}" dt="2023-02-04T08:06:12.006" v="5642" actId="14100"/>
        <pc:sldMkLst>
          <pc:docMk/>
          <pc:sldMk cId="3429197109" sldId="2134806335"/>
        </pc:sldMkLst>
        <pc:graphicFrameChg chg="modGraphic">
          <ac:chgData name="STEPANCHENKO, D. (Dmitrii)" userId="30c9d29d-ac41-46ff-b2be-c3f5dd1e26e1" providerId="ADAL" clId="{B3A474F3-5485-4A93-8981-1E68ACC9F057}" dt="2023-02-04T08:06:12.006" v="5642" actId="14100"/>
          <ac:graphicFrameMkLst>
            <pc:docMk/>
            <pc:sldMk cId="3429197109" sldId="2134806335"/>
            <ac:graphicFrameMk id="3" creationId="{3FB1392B-9DAC-40D6-AF12-16AF88B26518}"/>
          </ac:graphicFrameMkLst>
        </pc:graphicFrameChg>
      </pc:sldChg>
      <pc:sldChg chg="modSp mod">
        <pc:chgData name="STEPANCHENKO, D. (Dmitrii)" userId="30c9d29d-ac41-46ff-b2be-c3f5dd1e26e1" providerId="ADAL" clId="{B3A474F3-5485-4A93-8981-1E68ACC9F057}" dt="2023-02-04T07:46:03.081" v="5532" actId="20577"/>
        <pc:sldMkLst>
          <pc:docMk/>
          <pc:sldMk cId="3121307498" sldId="2134806348"/>
        </pc:sldMkLst>
        <pc:graphicFrameChg chg="modGraphic">
          <ac:chgData name="STEPANCHENKO, D. (Dmitrii)" userId="30c9d29d-ac41-46ff-b2be-c3f5dd1e26e1" providerId="ADAL" clId="{B3A474F3-5485-4A93-8981-1E68ACC9F057}" dt="2023-02-04T07:46:03.081" v="5532" actId="20577"/>
          <ac:graphicFrameMkLst>
            <pc:docMk/>
            <pc:sldMk cId="3121307498" sldId="2134806348"/>
            <ac:graphicFrameMk id="7" creationId="{6FF43420-5F97-4112-B0D3-FE928926660A}"/>
          </ac:graphicFrameMkLst>
        </pc:graphicFrameChg>
      </pc:sldChg>
      <pc:sldChg chg="modSp mod">
        <pc:chgData name="STEPANCHENKO, D. (Dmitrii)" userId="30c9d29d-ac41-46ff-b2be-c3f5dd1e26e1" providerId="ADAL" clId="{B3A474F3-5485-4A93-8981-1E68ACC9F057}" dt="2023-02-02T11:56:23.005" v="10" actId="14100"/>
        <pc:sldMkLst>
          <pc:docMk/>
          <pc:sldMk cId="360950131" sldId="2134806349"/>
        </pc:sldMkLst>
        <pc:spChg chg="mod">
          <ac:chgData name="STEPANCHENKO, D. (Dmitrii)" userId="30c9d29d-ac41-46ff-b2be-c3f5dd1e26e1" providerId="ADAL" clId="{B3A474F3-5485-4A93-8981-1E68ACC9F057}" dt="2023-02-02T11:56:09.709" v="4" actId="20577"/>
          <ac:spMkLst>
            <pc:docMk/>
            <pc:sldMk cId="360950131" sldId="2134806349"/>
            <ac:spMk id="10" creationId="{2254E375-2FB3-4511-9C58-9442856C2042}"/>
          </ac:spMkLst>
        </pc:spChg>
        <pc:spChg chg="mod">
          <ac:chgData name="STEPANCHENKO, D. (Dmitrii)" userId="30c9d29d-ac41-46ff-b2be-c3f5dd1e26e1" providerId="ADAL" clId="{B3A474F3-5485-4A93-8981-1E68ACC9F057}" dt="2023-02-02T11:56:23.005" v="10" actId="14100"/>
          <ac:spMkLst>
            <pc:docMk/>
            <pc:sldMk cId="360950131" sldId="2134806349"/>
            <ac:spMk id="15" creationId="{E6217700-48BD-4F57-ABEE-041604653B78}"/>
          </ac:spMkLst>
        </pc:spChg>
        <pc:cxnChg chg="mod">
          <ac:chgData name="STEPANCHENKO, D. (Dmitrii)" userId="30c9d29d-ac41-46ff-b2be-c3f5dd1e26e1" providerId="ADAL" clId="{B3A474F3-5485-4A93-8981-1E68ACC9F057}" dt="2023-02-02T11:56:23.005" v="10" actId="14100"/>
          <ac:cxnSpMkLst>
            <pc:docMk/>
            <pc:sldMk cId="360950131" sldId="2134806349"/>
            <ac:cxnSpMk id="17" creationId="{3EE0A07F-DE4D-4BE0-AC12-E01AFA9531B8}"/>
          </ac:cxnSpMkLst>
        </pc:cxnChg>
      </pc:sldChg>
      <pc:sldChg chg="modSp mod">
        <pc:chgData name="STEPANCHENKO, D. (Dmitrii)" userId="30c9d29d-ac41-46ff-b2be-c3f5dd1e26e1" providerId="ADAL" clId="{B3A474F3-5485-4A93-8981-1E68ACC9F057}" dt="2023-02-04T07:08:45.069" v="5464" actId="1035"/>
        <pc:sldMkLst>
          <pc:docMk/>
          <pc:sldMk cId="2759589870" sldId="2134806350"/>
        </pc:sldMkLst>
        <pc:spChg chg="mod">
          <ac:chgData name="STEPANCHENKO, D. (Dmitrii)" userId="30c9d29d-ac41-46ff-b2be-c3f5dd1e26e1" providerId="ADAL" clId="{B3A474F3-5485-4A93-8981-1E68ACC9F057}" dt="2023-02-04T07:08:45.069" v="5464" actId="1035"/>
          <ac:spMkLst>
            <pc:docMk/>
            <pc:sldMk cId="2759589870" sldId="2134806350"/>
            <ac:spMk id="24" creationId="{AC22F2D7-F662-4426-B19B-BE46B45582F9}"/>
          </ac:spMkLst>
        </pc:spChg>
      </pc:sldChg>
      <pc:sldChg chg="addSp delSp modSp mod">
        <pc:chgData name="STEPANCHENKO, D. (Dmitrii)" userId="30c9d29d-ac41-46ff-b2be-c3f5dd1e26e1" providerId="ADAL" clId="{B3A474F3-5485-4A93-8981-1E68ACC9F057}" dt="2023-02-03T09:02:03.880" v="3280" actId="208"/>
        <pc:sldMkLst>
          <pc:docMk/>
          <pc:sldMk cId="1653022067" sldId="2134806352"/>
        </pc:sldMkLst>
        <pc:spChg chg="add mod">
          <ac:chgData name="STEPANCHENKO, D. (Dmitrii)" userId="30c9d29d-ac41-46ff-b2be-c3f5dd1e26e1" providerId="ADAL" clId="{B3A474F3-5485-4A93-8981-1E68ACC9F057}" dt="2023-02-03T09:01:59.563" v="3279" actId="1076"/>
          <ac:spMkLst>
            <pc:docMk/>
            <pc:sldMk cId="1653022067" sldId="2134806352"/>
            <ac:spMk id="14" creationId="{15AB571A-82D2-776A-7FFF-74F0DFB71EE5}"/>
          </ac:spMkLst>
        </pc:spChg>
        <pc:graphicFrameChg chg="mod modGraphic">
          <ac:chgData name="STEPANCHENKO, D. (Dmitrii)" userId="30c9d29d-ac41-46ff-b2be-c3f5dd1e26e1" providerId="ADAL" clId="{B3A474F3-5485-4A93-8981-1E68ACC9F057}" dt="2023-02-02T15:09:33.120" v="37" actId="20577"/>
          <ac:graphicFrameMkLst>
            <pc:docMk/>
            <pc:sldMk cId="1653022067" sldId="2134806352"/>
            <ac:graphicFrameMk id="27" creationId="{EF916E41-6838-46F8-88F0-E74262BAFA6C}"/>
          </ac:graphicFrameMkLst>
        </pc:graphicFrameChg>
        <pc:cxnChg chg="add del">
          <ac:chgData name="STEPANCHENKO, D. (Dmitrii)" userId="30c9d29d-ac41-46ff-b2be-c3f5dd1e26e1" providerId="ADAL" clId="{B3A474F3-5485-4A93-8981-1E68ACC9F057}" dt="2023-02-03T08:59:21.150" v="3030" actId="11529"/>
          <ac:cxnSpMkLst>
            <pc:docMk/>
            <pc:sldMk cId="1653022067" sldId="2134806352"/>
            <ac:cxnSpMk id="7" creationId="{9AF932C0-002E-A3A3-26B2-853460DC8316}"/>
          </ac:cxnSpMkLst>
        </pc:cxnChg>
        <pc:cxnChg chg="add mod">
          <ac:chgData name="STEPANCHENKO, D. (Dmitrii)" userId="30c9d29d-ac41-46ff-b2be-c3f5dd1e26e1" providerId="ADAL" clId="{B3A474F3-5485-4A93-8981-1E68ACC9F057}" dt="2023-02-03T09:02:03.880" v="3280" actId="208"/>
          <ac:cxnSpMkLst>
            <pc:docMk/>
            <pc:sldMk cId="1653022067" sldId="2134806352"/>
            <ac:cxnSpMk id="10" creationId="{4A52CF5D-9329-E6D7-A6FA-BCDAC4357E27}"/>
          </ac:cxnSpMkLst>
        </pc:cxnChg>
      </pc:sldChg>
      <pc:sldChg chg="ord">
        <pc:chgData name="STEPANCHENKO, D. (Dmitrii)" userId="30c9d29d-ac41-46ff-b2be-c3f5dd1e26e1" providerId="ADAL" clId="{B3A474F3-5485-4A93-8981-1E68ACC9F057}" dt="2023-02-03T08:32:31.362" v="2209"/>
        <pc:sldMkLst>
          <pc:docMk/>
          <pc:sldMk cId="3668568787" sldId="2134806353"/>
        </pc:sldMkLst>
      </pc:sldChg>
      <pc:sldChg chg="addSp delSp modSp mod ord">
        <pc:chgData name="STEPANCHENKO, D. (Dmitrii)" userId="30c9d29d-ac41-46ff-b2be-c3f5dd1e26e1" providerId="ADAL" clId="{B3A474F3-5485-4A93-8981-1E68ACC9F057}" dt="2023-02-03T13:24:07.740" v="5441" actId="1035"/>
        <pc:sldMkLst>
          <pc:docMk/>
          <pc:sldMk cId="1098944605" sldId="2134806354"/>
        </pc:sldMkLst>
        <pc:spChg chg="add del">
          <ac:chgData name="STEPANCHENKO, D. (Dmitrii)" userId="30c9d29d-ac41-46ff-b2be-c3f5dd1e26e1" providerId="ADAL" clId="{B3A474F3-5485-4A93-8981-1E68ACC9F057}" dt="2023-02-02T18:09:14.746" v="72" actId="11529"/>
          <ac:spMkLst>
            <pc:docMk/>
            <pc:sldMk cId="1098944605" sldId="2134806354"/>
            <ac:spMk id="3" creationId="{5E19A938-2F9F-7B9C-9E8D-0695441F3A13}"/>
          </ac:spMkLst>
        </pc:spChg>
        <pc:spChg chg="add mod">
          <ac:chgData name="STEPANCHENKO, D. (Dmitrii)" userId="30c9d29d-ac41-46ff-b2be-c3f5dd1e26e1" providerId="ADAL" clId="{B3A474F3-5485-4A93-8981-1E68ACC9F057}" dt="2023-02-02T19:21:35.127" v="2046" actId="1036"/>
          <ac:spMkLst>
            <pc:docMk/>
            <pc:sldMk cId="1098944605" sldId="2134806354"/>
            <ac:spMk id="4" creationId="{A8077876-DE29-20AE-AE61-7C50584602EC}"/>
          </ac:spMkLst>
        </pc:spChg>
        <pc:spChg chg="mod">
          <ac:chgData name="STEPANCHENKO, D. (Dmitrii)" userId="30c9d29d-ac41-46ff-b2be-c3f5dd1e26e1" providerId="ADAL" clId="{B3A474F3-5485-4A93-8981-1E68ACC9F057}" dt="2023-02-02T18:22:52.379" v="547" actId="20577"/>
          <ac:spMkLst>
            <pc:docMk/>
            <pc:sldMk cId="1098944605" sldId="2134806354"/>
            <ac:spMk id="5" creationId="{81BD1123-3626-1C45-BF5B-1C1864FA8AFA}"/>
          </ac:spMkLst>
        </pc:spChg>
        <pc:spChg chg="add del mod">
          <ac:chgData name="STEPANCHENKO, D. (Dmitrii)" userId="30c9d29d-ac41-46ff-b2be-c3f5dd1e26e1" providerId="ADAL" clId="{B3A474F3-5485-4A93-8981-1E68ACC9F057}" dt="2023-02-02T18:13:15.258" v="244"/>
          <ac:spMkLst>
            <pc:docMk/>
            <pc:sldMk cId="1098944605" sldId="2134806354"/>
            <ac:spMk id="7" creationId="{E0E805EC-A84A-AEE0-3347-47B796967A53}"/>
          </ac:spMkLst>
        </pc:spChg>
        <pc:spChg chg="add mod">
          <ac:chgData name="STEPANCHENKO, D. (Dmitrii)" userId="30c9d29d-ac41-46ff-b2be-c3f5dd1e26e1" providerId="ADAL" clId="{B3A474F3-5485-4A93-8981-1E68ACC9F057}" dt="2023-02-03T11:56:11.308" v="4648" actId="313"/>
          <ac:spMkLst>
            <pc:docMk/>
            <pc:sldMk cId="1098944605" sldId="2134806354"/>
            <ac:spMk id="9" creationId="{86B5E6EA-EDC5-026A-2E3F-A47544EC16A6}"/>
          </ac:spMkLst>
        </pc:spChg>
        <pc:spChg chg="add del mod">
          <ac:chgData name="STEPANCHENKO, D. (Dmitrii)" userId="30c9d29d-ac41-46ff-b2be-c3f5dd1e26e1" providerId="ADAL" clId="{B3A474F3-5485-4A93-8981-1E68ACC9F057}" dt="2023-02-02T18:14:36.003" v="271" actId="478"/>
          <ac:spMkLst>
            <pc:docMk/>
            <pc:sldMk cId="1098944605" sldId="2134806354"/>
            <ac:spMk id="11" creationId="{26F05147-4146-971D-E7E7-3BD03DF431BC}"/>
          </ac:spMkLst>
        </pc:spChg>
        <pc:spChg chg="add mod">
          <ac:chgData name="STEPANCHENKO, D. (Dmitrii)" userId="30c9d29d-ac41-46ff-b2be-c3f5dd1e26e1" providerId="ADAL" clId="{B3A474F3-5485-4A93-8981-1E68ACC9F057}" dt="2023-02-02T19:21:35.127" v="2046" actId="1036"/>
          <ac:spMkLst>
            <pc:docMk/>
            <pc:sldMk cId="1098944605" sldId="2134806354"/>
            <ac:spMk id="12" creationId="{691892AB-BFF6-BC66-B9D9-FB8D87BFF529}"/>
          </ac:spMkLst>
        </pc:spChg>
        <pc:spChg chg="add mod">
          <ac:chgData name="STEPANCHENKO, D. (Dmitrii)" userId="30c9d29d-ac41-46ff-b2be-c3f5dd1e26e1" providerId="ADAL" clId="{B3A474F3-5485-4A93-8981-1E68ACC9F057}" dt="2023-02-02T19:21:35.127" v="2046" actId="1036"/>
          <ac:spMkLst>
            <pc:docMk/>
            <pc:sldMk cId="1098944605" sldId="2134806354"/>
            <ac:spMk id="14" creationId="{892427F7-B666-F565-1832-A2249DB5DE04}"/>
          </ac:spMkLst>
        </pc:spChg>
        <pc:spChg chg="add mod">
          <ac:chgData name="STEPANCHENKO, D. (Dmitrii)" userId="30c9d29d-ac41-46ff-b2be-c3f5dd1e26e1" providerId="ADAL" clId="{B3A474F3-5485-4A93-8981-1E68ACC9F057}" dt="2023-02-02T19:21:35.127" v="2046" actId="1036"/>
          <ac:spMkLst>
            <pc:docMk/>
            <pc:sldMk cId="1098944605" sldId="2134806354"/>
            <ac:spMk id="16" creationId="{29B69AE6-5A8D-881D-1520-5886524BE4E6}"/>
          </ac:spMkLst>
        </pc:spChg>
        <pc:spChg chg="add mod">
          <ac:chgData name="STEPANCHENKO, D. (Dmitrii)" userId="30c9d29d-ac41-46ff-b2be-c3f5dd1e26e1" providerId="ADAL" clId="{B3A474F3-5485-4A93-8981-1E68ACC9F057}" dt="2023-02-02T19:21:35.127" v="2046" actId="1036"/>
          <ac:spMkLst>
            <pc:docMk/>
            <pc:sldMk cId="1098944605" sldId="2134806354"/>
            <ac:spMk id="18" creationId="{E14D8F62-D3AA-4637-141A-5C770AE711ED}"/>
          </ac:spMkLst>
        </pc:spChg>
        <pc:spChg chg="add mod">
          <ac:chgData name="STEPANCHENKO, D. (Dmitrii)" userId="30c9d29d-ac41-46ff-b2be-c3f5dd1e26e1" providerId="ADAL" clId="{B3A474F3-5485-4A93-8981-1E68ACC9F057}" dt="2023-02-02T19:21:35.127" v="2046" actId="1036"/>
          <ac:spMkLst>
            <pc:docMk/>
            <pc:sldMk cId="1098944605" sldId="2134806354"/>
            <ac:spMk id="20" creationId="{425E587E-EABA-2A90-8599-075A84194267}"/>
          </ac:spMkLst>
        </pc:spChg>
        <pc:spChg chg="add mod">
          <ac:chgData name="STEPANCHENKO, D. (Dmitrii)" userId="30c9d29d-ac41-46ff-b2be-c3f5dd1e26e1" providerId="ADAL" clId="{B3A474F3-5485-4A93-8981-1E68ACC9F057}" dt="2023-02-02T19:21:35.127" v="2046" actId="1036"/>
          <ac:spMkLst>
            <pc:docMk/>
            <pc:sldMk cId="1098944605" sldId="2134806354"/>
            <ac:spMk id="22" creationId="{DE84A7F2-A254-2278-5354-3E09DB7CC2D8}"/>
          </ac:spMkLst>
        </pc:spChg>
        <pc:spChg chg="add mod">
          <ac:chgData name="STEPANCHENKO, D. (Dmitrii)" userId="30c9d29d-ac41-46ff-b2be-c3f5dd1e26e1" providerId="ADAL" clId="{B3A474F3-5485-4A93-8981-1E68ACC9F057}" dt="2023-02-02T19:21:35.127" v="2046" actId="1036"/>
          <ac:spMkLst>
            <pc:docMk/>
            <pc:sldMk cId="1098944605" sldId="2134806354"/>
            <ac:spMk id="23" creationId="{B9C219CB-3B12-49F7-7DAB-C92AF856AB57}"/>
          </ac:spMkLst>
        </pc:spChg>
        <pc:spChg chg="add mod">
          <ac:chgData name="STEPANCHENKO, D. (Dmitrii)" userId="30c9d29d-ac41-46ff-b2be-c3f5dd1e26e1" providerId="ADAL" clId="{B3A474F3-5485-4A93-8981-1E68ACC9F057}" dt="2023-02-02T19:21:35.127" v="2046" actId="1036"/>
          <ac:spMkLst>
            <pc:docMk/>
            <pc:sldMk cId="1098944605" sldId="2134806354"/>
            <ac:spMk id="24" creationId="{278664A0-ED84-274D-398C-F12996FE0D12}"/>
          </ac:spMkLst>
        </pc:spChg>
        <pc:spChg chg="add mod">
          <ac:chgData name="STEPANCHENKO, D. (Dmitrii)" userId="30c9d29d-ac41-46ff-b2be-c3f5dd1e26e1" providerId="ADAL" clId="{B3A474F3-5485-4A93-8981-1E68ACC9F057}" dt="2023-02-02T19:21:35.127" v="2046" actId="1036"/>
          <ac:spMkLst>
            <pc:docMk/>
            <pc:sldMk cId="1098944605" sldId="2134806354"/>
            <ac:spMk id="25" creationId="{6A813E22-9F77-D0A9-75EC-EF8307D2D778}"/>
          </ac:spMkLst>
        </pc:spChg>
        <pc:spChg chg="add mod">
          <ac:chgData name="STEPANCHENKO, D. (Dmitrii)" userId="30c9d29d-ac41-46ff-b2be-c3f5dd1e26e1" providerId="ADAL" clId="{B3A474F3-5485-4A93-8981-1E68ACC9F057}" dt="2023-02-02T19:21:35.127" v="2046" actId="1036"/>
          <ac:spMkLst>
            <pc:docMk/>
            <pc:sldMk cId="1098944605" sldId="2134806354"/>
            <ac:spMk id="26" creationId="{1680075F-F374-EBC4-9865-0AA52290493C}"/>
          </ac:spMkLst>
        </pc:spChg>
        <pc:spChg chg="add mod">
          <ac:chgData name="STEPANCHENKO, D. (Dmitrii)" userId="30c9d29d-ac41-46ff-b2be-c3f5dd1e26e1" providerId="ADAL" clId="{B3A474F3-5485-4A93-8981-1E68ACC9F057}" dt="2023-02-03T13:24:07.740" v="5441" actId="1035"/>
          <ac:spMkLst>
            <pc:docMk/>
            <pc:sldMk cId="1098944605" sldId="2134806354"/>
            <ac:spMk id="29" creationId="{ABBA29A4-5C4C-010C-EF18-3287C8E4C44C}"/>
          </ac:spMkLst>
        </pc:spChg>
        <pc:spChg chg="add mod">
          <ac:chgData name="STEPANCHENKO, D. (Dmitrii)" userId="30c9d29d-ac41-46ff-b2be-c3f5dd1e26e1" providerId="ADAL" clId="{B3A474F3-5485-4A93-8981-1E68ACC9F057}" dt="2023-02-02T18:31:34.262" v="738" actId="14100"/>
          <ac:spMkLst>
            <pc:docMk/>
            <pc:sldMk cId="1098944605" sldId="2134806354"/>
            <ac:spMk id="30" creationId="{8EB843D7-79FA-09D3-5E96-29A330ABCE5F}"/>
          </ac:spMkLst>
        </pc:spChg>
        <pc:spChg chg="add mod">
          <ac:chgData name="STEPANCHENKO, D. (Dmitrii)" userId="30c9d29d-ac41-46ff-b2be-c3f5dd1e26e1" providerId="ADAL" clId="{B3A474F3-5485-4A93-8981-1E68ACC9F057}" dt="2023-02-03T13:24:07.740" v="5441" actId="1035"/>
          <ac:spMkLst>
            <pc:docMk/>
            <pc:sldMk cId="1098944605" sldId="2134806354"/>
            <ac:spMk id="31" creationId="{197F8707-951D-0631-A66C-94FDB1F10A24}"/>
          </ac:spMkLst>
        </pc:spChg>
        <pc:spChg chg="add mod">
          <ac:chgData name="STEPANCHENKO, D. (Dmitrii)" userId="30c9d29d-ac41-46ff-b2be-c3f5dd1e26e1" providerId="ADAL" clId="{B3A474F3-5485-4A93-8981-1E68ACC9F057}" dt="2023-02-02T18:31:40.886" v="779" actId="1036"/>
          <ac:spMkLst>
            <pc:docMk/>
            <pc:sldMk cId="1098944605" sldId="2134806354"/>
            <ac:spMk id="32" creationId="{5F1045F2-C4DF-54A7-F2C2-7FD7EDEC2008}"/>
          </ac:spMkLst>
        </pc:spChg>
        <pc:spChg chg="add mod">
          <ac:chgData name="STEPANCHENKO, D. (Dmitrii)" userId="30c9d29d-ac41-46ff-b2be-c3f5dd1e26e1" providerId="ADAL" clId="{B3A474F3-5485-4A93-8981-1E68ACC9F057}" dt="2023-02-02T19:21:35.127" v="2046" actId="1036"/>
          <ac:spMkLst>
            <pc:docMk/>
            <pc:sldMk cId="1098944605" sldId="2134806354"/>
            <ac:spMk id="33" creationId="{E20DFE2A-A534-8736-0B3A-8330307F0667}"/>
          </ac:spMkLst>
        </pc:spChg>
        <pc:spChg chg="add mod">
          <ac:chgData name="STEPANCHENKO, D. (Dmitrii)" userId="30c9d29d-ac41-46ff-b2be-c3f5dd1e26e1" providerId="ADAL" clId="{B3A474F3-5485-4A93-8981-1E68ACC9F057}" dt="2023-02-03T11:54:04.597" v="4585" actId="20577"/>
          <ac:spMkLst>
            <pc:docMk/>
            <pc:sldMk cId="1098944605" sldId="2134806354"/>
            <ac:spMk id="36" creationId="{3E079531-13A5-4892-6DAC-CD5F6C9A3AAF}"/>
          </ac:spMkLst>
        </pc:spChg>
        <pc:spChg chg="add mod">
          <ac:chgData name="STEPANCHENKO, D. (Dmitrii)" userId="30c9d29d-ac41-46ff-b2be-c3f5dd1e26e1" providerId="ADAL" clId="{B3A474F3-5485-4A93-8981-1E68ACC9F057}" dt="2023-02-02T19:21:35.127" v="2046" actId="1036"/>
          <ac:spMkLst>
            <pc:docMk/>
            <pc:sldMk cId="1098944605" sldId="2134806354"/>
            <ac:spMk id="38" creationId="{85E8FE80-1AA6-51F6-2B6B-4D8C670CE255}"/>
          </ac:spMkLst>
        </pc:spChg>
        <pc:spChg chg="add mod">
          <ac:chgData name="STEPANCHENKO, D. (Dmitrii)" userId="30c9d29d-ac41-46ff-b2be-c3f5dd1e26e1" providerId="ADAL" clId="{B3A474F3-5485-4A93-8981-1E68ACC9F057}" dt="2023-02-02T19:21:35.127" v="2046" actId="1036"/>
          <ac:spMkLst>
            <pc:docMk/>
            <pc:sldMk cId="1098944605" sldId="2134806354"/>
            <ac:spMk id="40" creationId="{77785C50-DCEE-C328-E96C-84E2081D6FB3}"/>
          </ac:spMkLst>
        </pc:spChg>
        <pc:spChg chg="add mod">
          <ac:chgData name="STEPANCHENKO, D. (Dmitrii)" userId="30c9d29d-ac41-46ff-b2be-c3f5dd1e26e1" providerId="ADAL" clId="{B3A474F3-5485-4A93-8981-1E68ACC9F057}" dt="2023-02-03T11:44:10.119" v="4469" actId="20577"/>
          <ac:spMkLst>
            <pc:docMk/>
            <pc:sldMk cId="1098944605" sldId="2134806354"/>
            <ac:spMk id="42" creationId="{9A5F33B5-7715-4CB3-AED9-AC01FA407A85}"/>
          </ac:spMkLst>
        </pc:spChg>
        <pc:spChg chg="add del">
          <ac:chgData name="STEPANCHENKO, D. (Dmitrii)" userId="30c9d29d-ac41-46ff-b2be-c3f5dd1e26e1" providerId="ADAL" clId="{B3A474F3-5485-4A93-8981-1E68ACC9F057}" dt="2023-02-02T18:50:35.791" v="1705" actId="11529"/>
          <ac:spMkLst>
            <pc:docMk/>
            <pc:sldMk cId="1098944605" sldId="2134806354"/>
            <ac:spMk id="46" creationId="{B126443A-C879-DB2D-CF99-82CF4F782E32}"/>
          </ac:spMkLst>
        </pc:spChg>
        <pc:spChg chg="add del mod">
          <ac:chgData name="STEPANCHENKO, D. (Dmitrii)" userId="30c9d29d-ac41-46ff-b2be-c3f5dd1e26e1" providerId="ADAL" clId="{B3A474F3-5485-4A93-8981-1E68ACC9F057}" dt="2023-02-02T19:21:29.105" v="2024" actId="478"/>
          <ac:spMkLst>
            <pc:docMk/>
            <pc:sldMk cId="1098944605" sldId="2134806354"/>
            <ac:spMk id="47" creationId="{BE19C3B8-7E90-3936-7226-7B0303AADC99}"/>
          </ac:spMkLst>
        </pc:spChg>
        <pc:spChg chg="add del mod">
          <ac:chgData name="STEPANCHENKO, D. (Dmitrii)" userId="30c9d29d-ac41-46ff-b2be-c3f5dd1e26e1" providerId="ADAL" clId="{B3A474F3-5485-4A93-8981-1E68ACC9F057}" dt="2023-02-02T19:21:29.105" v="2024" actId="478"/>
          <ac:spMkLst>
            <pc:docMk/>
            <pc:sldMk cId="1098944605" sldId="2134806354"/>
            <ac:spMk id="48" creationId="{177A5F38-9739-C6B0-976C-302CF43A2AA8}"/>
          </ac:spMkLst>
        </pc:spChg>
        <pc:picChg chg="add mod">
          <ac:chgData name="STEPANCHENKO, D. (Dmitrii)" userId="30c9d29d-ac41-46ff-b2be-c3f5dd1e26e1" providerId="ADAL" clId="{B3A474F3-5485-4A93-8981-1E68ACC9F057}" dt="2023-02-02T18:31:30.462" v="737" actId="14100"/>
          <ac:picMkLst>
            <pc:docMk/>
            <pc:sldMk cId="1098944605" sldId="2134806354"/>
            <ac:picMk id="28" creationId="{6C793684-DA0C-5D7D-3C6B-393111001F18}"/>
          </ac:picMkLst>
        </pc:picChg>
        <pc:cxnChg chg="add mod">
          <ac:chgData name="STEPANCHENKO, D. (Dmitrii)" userId="30c9d29d-ac41-46ff-b2be-c3f5dd1e26e1" providerId="ADAL" clId="{B3A474F3-5485-4A93-8981-1E68ACC9F057}" dt="2023-02-02T19:21:35.127" v="2046" actId="1036"/>
          <ac:cxnSpMkLst>
            <pc:docMk/>
            <pc:sldMk cId="1098944605" sldId="2134806354"/>
            <ac:cxnSpMk id="35" creationId="{E6FE4E7D-1D34-B95E-A499-1861ECA8B294}"/>
          </ac:cxnSpMkLst>
        </pc:cxnChg>
        <pc:cxnChg chg="add del mod">
          <ac:chgData name="STEPANCHENKO, D. (Dmitrii)" userId="30c9d29d-ac41-46ff-b2be-c3f5dd1e26e1" providerId="ADAL" clId="{B3A474F3-5485-4A93-8981-1E68ACC9F057}" dt="2023-02-02T18:49:06.629" v="1670" actId="478"/>
          <ac:cxnSpMkLst>
            <pc:docMk/>
            <pc:sldMk cId="1098944605" sldId="2134806354"/>
            <ac:cxnSpMk id="37" creationId="{3BB1BFF9-AC59-9C0B-C7A7-95CD28D86683}"/>
          </ac:cxnSpMkLst>
        </pc:cxnChg>
        <pc:cxnChg chg="add del mod">
          <ac:chgData name="STEPANCHENKO, D. (Dmitrii)" userId="30c9d29d-ac41-46ff-b2be-c3f5dd1e26e1" providerId="ADAL" clId="{B3A474F3-5485-4A93-8981-1E68ACC9F057}" dt="2023-02-02T18:49:06.629" v="1670" actId="478"/>
          <ac:cxnSpMkLst>
            <pc:docMk/>
            <pc:sldMk cId="1098944605" sldId="2134806354"/>
            <ac:cxnSpMk id="39" creationId="{C5319B84-5F66-CAE9-9DB3-C28FBD833EAE}"/>
          </ac:cxnSpMkLst>
        </pc:cxnChg>
        <pc:cxnChg chg="add del mod">
          <ac:chgData name="STEPANCHENKO, D. (Dmitrii)" userId="30c9d29d-ac41-46ff-b2be-c3f5dd1e26e1" providerId="ADAL" clId="{B3A474F3-5485-4A93-8981-1E68ACC9F057}" dt="2023-02-02T18:49:06.629" v="1670" actId="478"/>
          <ac:cxnSpMkLst>
            <pc:docMk/>
            <pc:sldMk cId="1098944605" sldId="2134806354"/>
            <ac:cxnSpMk id="41" creationId="{1B325457-AECA-A1E0-8444-69D4915A5665}"/>
          </ac:cxnSpMkLst>
        </pc:cxnChg>
        <pc:cxnChg chg="add mod">
          <ac:chgData name="STEPANCHENKO, D. (Dmitrii)" userId="30c9d29d-ac41-46ff-b2be-c3f5dd1e26e1" providerId="ADAL" clId="{B3A474F3-5485-4A93-8981-1E68ACC9F057}" dt="2023-02-02T19:21:35.127" v="2046" actId="1036"/>
          <ac:cxnSpMkLst>
            <pc:docMk/>
            <pc:sldMk cId="1098944605" sldId="2134806354"/>
            <ac:cxnSpMk id="43" creationId="{A4CC6D6F-42B4-BD32-F214-CE2EE686726D}"/>
          </ac:cxnSpMkLst>
        </pc:cxnChg>
        <pc:cxnChg chg="add mod">
          <ac:chgData name="STEPANCHENKO, D. (Dmitrii)" userId="30c9d29d-ac41-46ff-b2be-c3f5dd1e26e1" providerId="ADAL" clId="{B3A474F3-5485-4A93-8981-1E68ACC9F057}" dt="2023-02-02T19:21:35.127" v="2046" actId="1036"/>
          <ac:cxnSpMkLst>
            <pc:docMk/>
            <pc:sldMk cId="1098944605" sldId="2134806354"/>
            <ac:cxnSpMk id="44" creationId="{9B819088-06E2-B36B-65EB-7AB4F412E117}"/>
          </ac:cxnSpMkLst>
        </pc:cxnChg>
        <pc:cxnChg chg="add mod">
          <ac:chgData name="STEPANCHENKO, D. (Dmitrii)" userId="30c9d29d-ac41-46ff-b2be-c3f5dd1e26e1" providerId="ADAL" clId="{B3A474F3-5485-4A93-8981-1E68ACC9F057}" dt="2023-02-02T19:21:35.127" v="2046" actId="1036"/>
          <ac:cxnSpMkLst>
            <pc:docMk/>
            <pc:sldMk cId="1098944605" sldId="2134806354"/>
            <ac:cxnSpMk id="45" creationId="{0DCA9C1F-E974-524B-108F-888416170AD1}"/>
          </ac:cxnSpMkLst>
        </pc:cxnChg>
      </pc:sldChg>
      <pc:sldChg chg="addSp delSp modSp add mod ord">
        <pc:chgData name="STEPANCHENKO, D. (Dmitrii)" userId="30c9d29d-ac41-46ff-b2be-c3f5dd1e26e1" providerId="ADAL" clId="{B3A474F3-5485-4A93-8981-1E68ACC9F057}" dt="2023-02-05T11:26:39.868" v="8484" actId="207"/>
        <pc:sldMkLst>
          <pc:docMk/>
          <pc:sldMk cId="2104593195" sldId="2134806355"/>
        </pc:sldMkLst>
        <pc:spChg chg="add del mod">
          <ac:chgData name="STEPANCHENKO, D. (Dmitrii)" userId="30c9d29d-ac41-46ff-b2be-c3f5dd1e26e1" providerId="ADAL" clId="{B3A474F3-5485-4A93-8981-1E68ACC9F057}" dt="2023-02-05T11:03:30.678" v="7588" actId="478"/>
          <ac:spMkLst>
            <pc:docMk/>
            <pc:sldMk cId="2104593195" sldId="2134806355"/>
            <ac:spMk id="3" creationId="{045058D7-B51E-D43C-FF13-E4066AB6D01E}"/>
          </ac:spMkLst>
        </pc:spChg>
        <pc:spChg chg="mod">
          <ac:chgData name="STEPANCHENKO, D. (Dmitrii)" userId="30c9d29d-ac41-46ff-b2be-c3f5dd1e26e1" providerId="ADAL" clId="{B3A474F3-5485-4A93-8981-1E68ACC9F057}" dt="2023-02-03T09:23:36.137" v="3386" actId="20577"/>
          <ac:spMkLst>
            <pc:docMk/>
            <pc:sldMk cId="2104593195" sldId="2134806355"/>
            <ac:spMk id="5" creationId="{81BD1123-3626-1C45-BF5B-1C1864FA8AFA}"/>
          </ac:spMkLst>
        </pc:spChg>
        <pc:spChg chg="add mod">
          <ac:chgData name="STEPANCHENKO, D. (Dmitrii)" userId="30c9d29d-ac41-46ff-b2be-c3f5dd1e26e1" providerId="ADAL" clId="{B3A474F3-5485-4A93-8981-1E68ACC9F057}" dt="2023-02-05T11:11:03.448" v="8099" actId="1036"/>
          <ac:spMkLst>
            <pc:docMk/>
            <pc:sldMk cId="2104593195" sldId="2134806355"/>
            <ac:spMk id="6" creationId="{F8F7B6F6-480C-BC02-9625-3BB8A8392025}"/>
          </ac:spMkLst>
        </pc:spChg>
        <pc:spChg chg="add mod">
          <ac:chgData name="STEPANCHENKO, D. (Dmitrii)" userId="30c9d29d-ac41-46ff-b2be-c3f5dd1e26e1" providerId="ADAL" clId="{B3A474F3-5485-4A93-8981-1E68ACC9F057}" dt="2023-02-05T11:26:39.868" v="8484" actId="207"/>
          <ac:spMkLst>
            <pc:docMk/>
            <pc:sldMk cId="2104593195" sldId="2134806355"/>
            <ac:spMk id="8" creationId="{F11D3742-CF40-E007-1538-B06A5BE4DF00}"/>
          </ac:spMkLst>
        </pc:spChg>
        <pc:spChg chg="add mod">
          <ac:chgData name="STEPANCHENKO, D. (Dmitrii)" userId="30c9d29d-ac41-46ff-b2be-c3f5dd1e26e1" providerId="ADAL" clId="{B3A474F3-5485-4A93-8981-1E68ACC9F057}" dt="2023-02-05T11:10:25.157" v="8064" actId="14100"/>
          <ac:spMkLst>
            <pc:docMk/>
            <pc:sldMk cId="2104593195" sldId="2134806355"/>
            <ac:spMk id="9" creationId="{4C313E30-499E-6F2E-FCC6-290F2158277F}"/>
          </ac:spMkLst>
        </pc:spChg>
        <pc:spChg chg="add mod">
          <ac:chgData name="STEPANCHENKO, D. (Dmitrii)" userId="30c9d29d-ac41-46ff-b2be-c3f5dd1e26e1" providerId="ADAL" clId="{B3A474F3-5485-4A93-8981-1E68ACC9F057}" dt="2023-02-05T11:10:48.257" v="8087" actId="1035"/>
          <ac:spMkLst>
            <pc:docMk/>
            <pc:sldMk cId="2104593195" sldId="2134806355"/>
            <ac:spMk id="10" creationId="{06902B11-2E62-6667-4DA4-588903EA564A}"/>
          </ac:spMkLst>
        </pc:spChg>
        <pc:spChg chg="add mod">
          <ac:chgData name="STEPANCHENKO, D. (Dmitrii)" userId="30c9d29d-ac41-46ff-b2be-c3f5dd1e26e1" providerId="ADAL" clId="{B3A474F3-5485-4A93-8981-1E68ACC9F057}" dt="2023-02-05T11:26:17.342" v="8474" actId="207"/>
          <ac:spMkLst>
            <pc:docMk/>
            <pc:sldMk cId="2104593195" sldId="2134806355"/>
            <ac:spMk id="11" creationId="{BAF46B7A-A5FA-3049-5BEB-F797CE535516}"/>
          </ac:spMkLst>
        </pc:spChg>
        <pc:spChg chg="add mod">
          <ac:chgData name="STEPANCHENKO, D. (Dmitrii)" userId="30c9d29d-ac41-46ff-b2be-c3f5dd1e26e1" providerId="ADAL" clId="{B3A474F3-5485-4A93-8981-1E68ACC9F057}" dt="2023-02-05T11:10:48.257" v="8087" actId="1035"/>
          <ac:spMkLst>
            <pc:docMk/>
            <pc:sldMk cId="2104593195" sldId="2134806355"/>
            <ac:spMk id="12" creationId="{A93478A3-6C9D-A223-9CB7-FD2BD0C93586}"/>
          </ac:spMkLst>
        </pc:spChg>
        <pc:spChg chg="add mod">
          <ac:chgData name="STEPANCHENKO, D. (Dmitrii)" userId="30c9d29d-ac41-46ff-b2be-c3f5dd1e26e1" providerId="ADAL" clId="{B3A474F3-5485-4A93-8981-1E68ACC9F057}" dt="2023-02-05T11:26:39.868" v="8484" actId="207"/>
          <ac:spMkLst>
            <pc:docMk/>
            <pc:sldMk cId="2104593195" sldId="2134806355"/>
            <ac:spMk id="13" creationId="{BE519FF1-1A77-0B1C-D0B9-EA4DD1972371}"/>
          </ac:spMkLst>
        </pc:spChg>
        <pc:spChg chg="add mod">
          <ac:chgData name="STEPANCHENKO, D. (Dmitrii)" userId="30c9d29d-ac41-46ff-b2be-c3f5dd1e26e1" providerId="ADAL" clId="{B3A474F3-5485-4A93-8981-1E68ACC9F057}" dt="2023-02-05T11:26:17.342" v="8474" actId="207"/>
          <ac:spMkLst>
            <pc:docMk/>
            <pc:sldMk cId="2104593195" sldId="2134806355"/>
            <ac:spMk id="14" creationId="{D11DE9F9-0FE8-6B19-637C-295C7F0C2F2A}"/>
          </ac:spMkLst>
        </pc:spChg>
        <pc:spChg chg="add mod">
          <ac:chgData name="STEPANCHENKO, D. (Dmitrii)" userId="30c9d29d-ac41-46ff-b2be-c3f5dd1e26e1" providerId="ADAL" clId="{B3A474F3-5485-4A93-8981-1E68ACC9F057}" dt="2023-02-05T11:26:18.657" v="8479" actId="113"/>
          <ac:spMkLst>
            <pc:docMk/>
            <pc:sldMk cId="2104593195" sldId="2134806355"/>
            <ac:spMk id="15" creationId="{F4296020-F564-77A7-4AFB-B495ED415644}"/>
          </ac:spMkLst>
        </pc:spChg>
        <pc:spChg chg="add mod">
          <ac:chgData name="STEPANCHENKO, D. (Dmitrii)" userId="30c9d29d-ac41-46ff-b2be-c3f5dd1e26e1" providerId="ADAL" clId="{B3A474F3-5485-4A93-8981-1E68ACC9F057}" dt="2023-02-05T11:26:21.959" v="8483" actId="255"/>
          <ac:spMkLst>
            <pc:docMk/>
            <pc:sldMk cId="2104593195" sldId="2134806355"/>
            <ac:spMk id="16" creationId="{193F4ADE-0A65-F57E-BC67-EB1EC48C95B4}"/>
          </ac:spMkLst>
        </pc:spChg>
        <pc:spChg chg="add mod">
          <ac:chgData name="STEPANCHENKO, D. (Dmitrii)" userId="30c9d29d-ac41-46ff-b2be-c3f5dd1e26e1" providerId="ADAL" clId="{B3A474F3-5485-4A93-8981-1E68ACC9F057}" dt="2023-02-05T11:10:48.257" v="8087" actId="1035"/>
          <ac:spMkLst>
            <pc:docMk/>
            <pc:sldMk cId="2104593195" sldId="2134806355"/>
            <ac:spMk id="17" creationId="{C305597E-9E2E-EDF6-59E8-9605794AAA2B}"/>
          </ac:spMkLst>
        </pc:spChg>
        <pc:spChg chg="add mod">
          <ac:chgData name="STEPANCHENKO, D. (Dmitrii)" userId="30c9d29d-ac41-46ff-b2be-c3f5dd1e26e1" providerId="ADAL" clId="{B3A474F3-5485-4A93-8981-1E68ACC9F057}" dt="2023-02-05T11:26:18.657" v="8479" actId="113"/>
          <ac:spMkLst>
            <pc:docMk/>
            <pc:sldMk cId="2104593195" sldId="2134806355"/>
            <ac:spMk id="18" creationId="{B18081E6-1A5D-9381-138A-880A4AF120CB}"/>
          </ac:spMkLst>
        </pc:spChg>
        <pc:spChg chg="add mod">
          <ac:chgData name="STEPANCHENKO, D. (Dmitrii)" userId="30c9d29d-ac41-46ff-b2be-c3f5dd1e26e1" providerId="ADAL" clId="{B3A474F3-5485-4A93-8981-1E68ACC9F057}" dt="2023-02-05T11:26:18.657" v="8479" actId="113"/>
          <ac:spMkLst>
            <pc:docMk/>
            <pc:sldMk cId="2104593195" sldId="2134806355"/>
            <ac:spMk id="19" creationId="{494538AF-12C1-B927-2CC4-DF45A4C74607}"/>
          </ac:spMkLst>
        </pc:spChg>
        <pc:spChg chg="add mod">
          <ac:chgData name="STEPANCHENKO, D. (Dmitrii)" userId="30c9d29d-ac41-46ff-b2be-c3f5dd1e26e1" providerId="ADAL" clId="{B3A474F3-5485-4A93-8981-1E68ACC9F057}" dt="2023-02-05T11:10:48.257" v="8087" actId="1035"/>
          <ac:spMkLst>
            <pc:docMk/>
            <pc:sldMk cId="2104593195" sldId="2134806355"/>
            <ac:spMk id="20" creationId="{05FF9D23-6E32-1FE6-88D1-96A5C8688681}"/>
          </ac:spMkLst>
        </pc:spChg>
        <pc:spChg chg="add mod">
          <ac:chgData name="STEPANCHENKO, D. (Dmitrii)" userId="30c9d29d-ac41-46ff-b2be-c3f5dd1e26e1" providerId="ADAL" clId="{B3A474F3-5485-4A93-8981-1E68ACC9F057}" dt="2023-02-05T11:26:16.628" v="8469" actId="207"/>
          <ac:spMkLst>
            <pc:docMk/>
            <pc:sldMk cId="2104593195" sldId="2134806355"/>
            <ac:spMk id="21" creationId="{B17FDB00-A216-6486-09ED-8B6F60BF30B7}"/>
          </ac:spMkLst>
        </pc:spChg>
        <pc:spChg chg="add mod">
          <ac:chgData name="STEPANCHENKO, D. (Dmitrii)" userId="30c9d29d-ac41-46ff-b2be-c3f5dd1e26e1" providerId="ADAL" clId="{B3A474F3-5485-4A93-8981-1E68ACC9F057}" dt="2023-02-05T11:26:17.201" v="8473" actId="14100"/>
          <ac:spMkLst>
            <pc:docMk/>
            <pc:sldMk cId="2104593195" sldId="2134806355"/>
            <ac:spMk id="22" creationId="{E70B54BB-732B-F5DB-33CB-764F3173DB4A}"/>
          </ac:spMkLst>
        </pc:spChg>
        <pc:spChg chg="add mod">
          <ac:chgData name="STEPANCHENKO, D. (Dmitrii)" userId="30c9d29d-ac41-46ff-b2be-c3f5dd1e26e1" providerId="ADAL" clId="{B3A474F3-5485-4A93-8981-1E68ACC9F057}" dt="2023-02-05T11:10:42.009" v="8072" actId="1038"/>
          <ac:spMkLst>
            <pc:docMk/>
            <pc:sldMk cId="2104593195" sldId="2134806355"/>
            <ac:spMk id="23" creationId="{A444F367-76F8-269F-F225-DF33FD5E5231}"/>
          </ac:spMkLst>
        </pc:spChg>
        <pc:spChg chg="add mod">
          <ac:chgData name="STEPANCHENKO, D. (Dmitrii)" userId="30c9d29d-ac41-46ff-b2be-c3f5dd1e26e1" providerId="ADAL" clId="{B3A474F3-5485-4A93-8981-1E68ACC9F057}" dt="2023-02-05T11:10:59.739" v="8089" actId="1076"/>
          <ac:spMkLst>
            <pc:docMk/>
            <pc:sldMk cId="2104593195" sldId="2134806355"/>
            <ac:spMk id="24" creationId="{7ED1B693-89ED-7AEE-266A-78AFF593665F}"/>
          </ac:spMkLst>
        </pc:spChg>
        <pc:spChg chg="add mod">
          <ac:chgData name="STEPANCHENKO, D. (Dmitrii)" userId="30c9d29d-ac41-46ff-b2be-c3f5dd1e26e1" providerId="ADAL" clId="{B3A474F3-5485-4A93-8981-1E68ACC9F057}" dt="2023-02-05T11:26:17.084" v="8472" actId="113"/>
          <ac:spMkLst>
            <pc:docMk/>
            <pc:sldMk cId="2104593195" sldId="2134806355"/>
            <ac:spMk id="25" creationId="{1DEB96A2-4F6F-EEAF-790C-13ACEC7ED094}"/>
          </ac:spMkLst>
        </pc:spChg>
        <pc:spChg chg="add mod">
          <ac:chgData name="STEPANCHENKO, D. (Dmitrii)" userId="30c9d29d-ac41-46ff-b2be-c3f5dd1e26e1" providerId="ADAL" clId="{B3A474F3-5485-4A93-8981-1E68ACC9F057}" dt="2023-02-05T11:26:17.201" v="8473" actId="14100"/>
          <ac:spMkLst>
            <pc:docMk/>
            <pc:sldMk cId="2104593195" sldId="2134806355"/>
            <ac:spMk id="26" creationId="{A2D31C75-366E-F6BE-82BC-2890FDA31487}"/>
          </ac:spMkLst>
        </pc:spChg>
        <pc:spChg chg="add mod">
          <ac:chgData name="STEPANCHENKO, D. (Dmitrii)" userId="30c9d29d-ac41-46ff-b2be-c3f5dd1e26e1" providerId="ADAL" clId="{B3A474F3-5485-4A93-8981-1E68ACC9F057}" dt="2023-02-05T11:23:15.406" v="8400" actId="207"/>
          <ac:spMkLst>
            <pc:docMk/>
            <pc:sldMk cId="2104593195" sldId="2134806355"/>
            <ac:spMk id="27" creationId="{44734C1F-001A-089E-8F62-9EF42641D903}"/>
          </ac:spMkLst>
        </pc:spChg>
        <pc:spChg chg="add mod">
          <ac:chgData name="STEPANCHENKO, D. (Dmitrii)" userId="30c9d29d-ac41-46ff-b2be-c3f5dd1e26e1" providerId="ADAL" clId="{B3A474F3-5485-4A93-8981-1E68ACC9F057}" dt="2023-02-05T11:23:15.406" v="8400" actId="207"/>
          <ac:spMkLst>
            <pc:docMk/>
            <pc:sldMk cId="2104593195" sldId="2134806355"/>
            <ac:spMk id="28" creationId="{108B31E4-51B5-2507-B378-74EA9DE48FBB}"/>
          </ac:spMkLst>
        </pc:spChg>
        <pc:spChg chg="add mod">
          <ac:chgData name="STEPANCHENKO, D. (Dmitrii)" userId="30c9d29d-ac41-46ff-b2be-c3f5dd1e26e1" providerId="ADAL" clId="{B3A474F3-5485-4A93-8981-1E68ACC9F057}" dt="2023-02-05T11:23:21.715" v="8401" actId="2085"/>
          <ac:spMkLst>
            <pc:docMk/>
            <pc:sldMk cId="2104593195" sldId="2134806355"/>
            <ac:spMk id="29" creationId="{8F3D40BB-563C-4D5B-8ADB-7A4A6739F607}"/>
          </ac:spMkLst>
        </pc:spChg>
        <pc:spChg chg="add mod">
          <ac:chgData name="STEPANCHENKO, D. (Dmitrii)" userId="30c9d29d-ac41-46ff-b2be-c3f5dd1e26e1" providerId="ADAL" clId="{B3A474F3-5485-4A93-8981-1E68ACC9F057}" dt="2023-02-05T11:23:21.715" v="8401" actId="2085"/>
          <ac:spMkLst>
            <pc:docMk/>
            <pc:sldMk cId="2104593195" sldId="2134806355"/>
            <ac:spMk id="30" creationId="{574BFA49-CF6C-4880-42A6-3F7ECCC758D2}"/>
          </ac:spMkLst>
        </pc:spChg>
        <pc:graphicFrameChg chg="add del">
          <ac:chgData name="STEPANCHENKO, D. (Dmitrii)" userId="30c9d29d-ac41-46ff-b2be-c3f5dd1e26e1" providerId="ADAL" clId="{B3A474F3-5485-4A93-8981-1E68ACC9F057}" dt="2023-02-05T10:35:19.942" v="7169" actId="478"/>
          <ac:graphicFrameMkLst>
            <pc:docMk/>
            <pc:sldMk cId="2104593195" sldId="2134806355"/>
            <ac:graphicFrameMk id="7" creationId="{3712E2BA-B287-171F-7DD9-4E31DA641E46}"/>
          </ac:graphicFrameMkLst>
        </pc:graphicFrameChg>
      </pc:sldChg>
      <pc:sldChg chg="addSp delSp modSp add mod ord delAnim modAnim">
        <pc:chgData name="STEPANCHENKO, D. (Dmitrii)" userId="30c9d29d-ac41-46ff-b2be-c3f5dd1e26e1" providerId="ADAL" clId="{B3A474F3-5485-4A93-8981-1E68ACC9F057}" dt="2023-02-05T10:49:47.695" v="7335" actId="27918"/>
        <pc:sldMkLst>
          <pc:docMk/>
          <pc:sldMk cId="3369279782" sldId="2134806356"/>
        </pc:sldMkLst>
        <pc:spChg chg="add mod">
          <ac:chgData name="STEPANCHENKO, D. (Dmitrii)" userId="30c9d29d-ac41-46ff-b2be-c3f5dd1e26e1" providerId="ADAL" clId="{B3A474F3-5485-4A93-8981-1E68ACC9F057}" dt="2023-02-03T10:10:52.958" v="4118" actId="255"/>
          <ac:spMkLst>
            <pc:docMk/>
            <pc:sldMk cId="3369279782" sldId="2134806356"/>
            <ac:spMk id="4" creationId="{3D4CEF53-7021-30E6-B21C-93F1EECE76C9}"/>
          </ac:spMkLst>
        </pc:spChg>
        <pc:spChg chg="mod">
          <ac:chgData name="STEPANCHENKO, D. (Dmitrii)" userId="30c9d29d-ac41-46ff-b2be-c3f5dd1e26e1" providerId="ADAL" clId="{B3A474F3-5485-4A93-8981-1E68ACC9F057}" dt="2023-02-03T09:34:04.001" v="3508" actId="20577"/>
          <ac:spMkLst>
            <pc:docMk/>
            <pc:sldMk cId="3369279782" sldId="2134806356"/>
            <ac:spMk id="5" creationId="{81BD1123-3626-1C45-BF5B-1C1864FA8AFA}"/>
          </ac:spMkLst>
        </pc:spChg>
        <pc:spChg chg="add mod">
          <ac:chgData name="STEPANCHENKO, D. (Dmitrii)" userId="30c9d29d-ac41-46ff-b2be-c3f5dd1e26e1" providerId="ADAL" clId="{B3A474F3-5485-4A93-8981-1E68ACC9F057}" dt="2023-02-03T08:58:47.255" v="3028" actId="208"/>
          <ac:spMkLst>
            <pc:docMk/>
            <pc:sldMk cId="3369279782" sldId="2134806356"/>
            <ac:spMk id="6" creationId="{F9DFA3C5-1578-A196-BDBA-ED3D79BF331D}"/>
          </ac:spMkLst>
        </pc:spChg>
        <pc:graphicFrameChg chg="add mod">
          <ac:chgData name="STEPANCHENKO, D. (Dmitrii)" userId="30c9d29d-ac41-46ff-b2be-c3f5dd1e26e1" providerId="ADAL" clId="{B3A474F3-5485-4A93-8981-1E68ACC9F057}" dt="2023-02-03T09:52:16.459" v="3539" actId="255"/>
          <ac:graphicFrameMkLst>
            <pc:docMk/>
            <pc:sldMk cId="3369279782" sldId="2134806356"/>
            <ac:graphicFrameMk id="3" creationId="{749F503D-81C8-555B-F390-7EC8E6D1A3E2}"/>
          </ac:graphicFrameMkLst>
        </pc:graphicFrameChg>
        <pc:picChg chg="add del mod">
          <ac:chgData name="STEPANCHENKO, D. (Dmitrii)" userId="30c9d29d-ac41-46ff-b2be-c3f5dd1e26e1" providerId="ADAL" clId="{B3A474F3-5485-4A93-8981-1E68ACC9F057}" dt="2023-02-03T10:10:46.435" v="4115" actId="478"/>
          <ac:picMkLst>
            <pc:docMk/>
            <pc:sldMk cId="3369279782" sldId="2134806356"/>
            <ac:picMk id="8" creationId="{323C034A-F658-A913-6EF7-D23BF90973A9}"/>
          </ac:picMkLst>
        </pc:picChg>
        <pc:picChg chg="add mod">
          <ac:chgData name="STEPANCHENKO, D. (Dmitrii)" userId="30c9d29d-ac41-46ff-b2be-c3f5dd1e26e1" providerId="ADAL" clId="{B3A474F3-5485-4A93-8981-1E68ACC9F057}" dt="2023-02-03T10:10:59.244" v="4121" actId="14100"/>
          <ac:picMkLst>
            <pc:docMk/>
            <pc:sldMk cId="3369279782" sldId="2134806356"/>
            <ac:picMk id="9" creationId="{C80B9A66-3428-C538-1BD2-9B9B791E807F}"/>
          </ac:picMkLst>
        </pc:picChg>
      </pc:sldChg>
      <pc:sldChg chg="addSp modSp add mod ord">
        <pc:chgData name="STEPANCHENKO, D. (Dmitrii)" userId="30c9d29d-ac41-46ff-b2be-c3f5dd1e26e1" providerId="ADAL" clId="{B3A474F3-5485-4A93-8981-1E68ACC9F057}" dt="2023-02-03T08:36:07.633" v="2382" actId="1036"/>
        <pc:sldMkLst>
          <pc:docMk/>
          <pc:sldMk cId="507477719" sldId="2134806357"/>
        </pc:sldMkLst>
        <pc:spChg chg="add mod">
          <ac:chgData name="STEPANCHENKO, D. (Dmitrii)" userId="30c9d29d-ac41-46ff-b2be-c3f5dd1e26e1" providerId="ADAL" clId="{B3A474F3-5485-4A93-8981-1E68ACC9F057}" dt="2023-02-03T08:36:07.633" v="2382" actId="1036"/>
          <ac:spMkLst>
            <pc:docMk/>
            <pc:sldMk cId="507477719" sldId="2134806357"/>
            <ac:spMk id="3" creationId="{E6C42D6E-CFFE-B727-ED26-0748BE613269}"/>
          </ac:spMkLst>
        </pc:spChg>
        <pc:spChg chg="mod">
          <ac:chgData name="STEPANCHENKO, D. (Dmitrii)" userId="30c9d29d-ac41-46ff-b2be-c3f5dd1e26e1" providerId="ADAL" clId="{B3A474F3-5485-4A93-8981-1E68ACC9F057}" dt="2023-02-03T08:35:36.299" v="2372" actId="20577"/>
          <ac:spMkLst>
            <pc:docMk/>
            <pc:sldMk cId="507477719" sldId="2134806357"/>
            <ac:spMk id="5" creationId="{81BD1123-3626-1C45-BF5B-1C1864FA8AFA}"/>
          </ac:spMkLst>
        </pc:spChg>
      </pc:sldChg>
      <pc:sldChg chg="addSp modSp add del mod ord">
        <pc:chgData name="STEPANCHENKO, D. (Dmitrii)" userId="30c9d29d-ac41-46ff-b2be-c3f5dd1e26e1" providerId="ADAL" clId="{B3A474F3-5485-4A93-8981-1E68ACC9F057}" dt="2023-02-03T13:26:20.843" v="5442" actId="47"/>
        <pc:sldMkLst>
          <pc:docMk/>
          <pc:sldMk cId="3071024765" sldId="2134806358"/>
        </pc:sldMkLst>
        <pc:spChg chg="add mod">
          <ac:chgData name="STEPANCHENKO, D. (Dmitrii)" userId="30c9d29d-ac41-46ff-b2be-c3f5dd1e26e1" providerId="ADAL" clId="{B3A474F3-5485-4A93-8981-1E68ACC9F057}" dt="2023-02-03T09:30:51.998" v="3506" actId="20577"/>
          <ac:spMkLst>
            <pc:docMk/>
            <pc:sldMk cId="3071024765" sldId="2134806358"/>
            <ac:spMk id="3" creationId="{6FBAE490-C92D-669D-EFF0-5D966A56CD42}"/>
          </ac:spMkLst>
        </pc:spChg>
        <pc:spChg chg="mod">
          <ac:chgData name="STEPANCHENKO, D. (Dmitrii)" userId="30c9d29d-ac41-46ff-b2be-c3f5dd1e26e1" providerId="ADAL" clId="{B3A474F3-5485-4A93-8981-1E68ACC9F057}" dt="2023-02-03T09:30:07.525" v="3427" actId="20577"/>
          <ac:spMkLst>
            <pc:docMk/>
            <pc:sldMk cId="3071024765" sldId="2134806358"/>
            <ac:spMk id="5" creationId="{81BD1123-3626-1C45-BF5B-1C1864FA8AFA}"/>
          </ac:spMkLst>
        </pc:spChg>
      </pc:sldChg>
      <pc:sldChg chg="addSp delSp modSp add mod">
        <pc:chgData name="STEPANCHENKO, D. (Dmitrii)" userId="30c9d29d-ac41-46ff-b2be-c3f5dd1e26e1" providerId="ADAL" clId="{B3A474F3-5485-4A93-8981-1E68ACC9F057}" dt="2023-02-05T07:43:21.571" v="6073" actId="478"/>
        <pc:sldMkLst>
          <pc:docMk/>
          <pc:sldMk cId="1026104641" sldId="2134806359"/>
        </pc:sldMkLst>
        <pc:spChg chg="add del mod">
          <ac:chgData name="STEPANCHENKO, D. (Dmitrii)" userId="30c9d29d-ac41-46ff-b2be-c3f5dd1e26e1" providerId="ADAL" clId="{B3A474F3-5485-4A93-8981-1E68ACC9F057}" dt="2023-02-03T12:51:56.833" v="4903" actId="1036"/>
          <ac:spMkLst>
            <pc:docMk/>
            <pc:sldMk cId="1026104641" sldId="2134806359"/>
            <ac:spMk id="3" creationId="{573CED5A-2C61-3ABB-D8DE-0E2F11EE3918}"/>
          </ac:spMkLst>
        </pc:spChg>
        <pc:spChg chg="mod">
          <ac:chgData name="STEPANCHENKO, D. (Dmitrii)" userId="30c9d29d-ac41-46ff-b2be-c3f5dd1e26e1" providerId="ADAL" clId="{B3A474F3-5485-4A93-8981-1E68ACC9F057}" dt="2023-02-03T12:51:56.833" v="4903" actId="1036"/>
          <ac:spMkLst>
            <pc:docMk/>
            <pc:sldMk cId="1026104641" sldId="2134806359"/>
            <ac:spMk id="4" creationId="{A8077876-DE29-20AE-AE61-7C50584602EC}"/>
          </ac:spMkLst>
        </pc:spChg>
        <pc:spChg chg="mod">
          <ac:chgData name="STEPANCHENKO, D. (Dmitrii)" userId="30c9d29d-ac41-46ff-b2be-c3f5dd1e26e1" providerId="ADAL" clId="{B3A474F3-5485-4A93-8981-1E68ACC9F057}" dt="2023-02-03T12:53:05.887" v="4906" actId="1076"/>
          <ac:spMkLst>
            <pc:docMk/>
            <pc:sldMk cId="1026104641" sldId="2134806359"/>
            <ac:spMk id="5" creationId="{81BD1123-3626-1C45-BF5B-1C1864FA8AFA}"/>
          </ac:spMkLst>
        </pc:spChg>
        <pc:spChg chg="add mod">
          <ac:chgData name="STEPANCHENKO, D. (Dmitrii)" userId="30c9d29d-ac41-46ff-b2be-c3f5dd1e26e1" providerId="ADAL" clId="{B3A474F3-5485-4A93-8981-1E68ACC9F057}" dt="2023-02-03T12:51:56.833" v="4903" actId="1036"/>
          <ac:spMkLst>
            <pc:docMk/>
            <pc:sldMk cId="1026104641" sldId="2134806359"/>
            <ac:spMk id="6" creationId="{257ACACA-8F70-6BE5-9286-2AF16D03EEAB}"/>
          </ac:spMkLst>
        </pc:spChg>
        <pc:spChg chg="add mod">
          <ac:chgData name="STEPANCHENKO, D. (Dmitrii)" userId="30c9d29d-ac41-46ff-b2be-c3f5dd1e26e1" providerId="ADAL" clId="{B3A474F3-5485-4A93-8981-1E68ACC9F057}" dt="2023-02-03T12:51:56.833" v="4903" actId="1036"/>
          <ac:spMkLst>
            <pc:docMk/>
            <pc:sldMk cId="1026104641" sldId="2134806359"/>
            <ac:spMk id="7" creationId="{3C1741CB-04C5-24DF-4E5D-DA34AB99D5ED}"/>
          </ac:spMkLst>
        </pc:spChg>
        <pc:spChg chg="add mod">
          <ac:chgData name="STEPANCHENKO, D. (Dmitrii)" userId="30c9d29d-ac41-46ff-b2be-c3f5dd1e26e1" providerId="ADAL" clId="{B3A474F3-5485-4A93-8981-1E68ACC9F057}" dt="2023-02-03T12:51:56.833" v="4903" actId="1036"/>
          <ac:spMkLst>
            <pc:docMk/>
            <pc:sldMk cId="1026104641" sldId="2134806359"/>
            <ac:spMk id="8" creationId="{8A39181E-37AB-10FA-2F20-A51BA7B3C8E6}"/>
          </ac:spMkLst>
        </pc:spChg>
        <pc:spChg chg="mod">
          <ac:chgData name="STEPANCHENKO, D. (Dmitrii)" userId="30c9d29d-ac41-46ff-b2be-c3f5dd1e26e1" providerId="ADAL" clId="{B3A474F3-5485-4A93-8981-1E68ACC9F057}" dt="2023-02-03T12:51:56.833" v="4903" actId="1036"/>
          <ac:spMkLst>
            <pc:docMk/>
            <pc:sldMk cId="1026104641" sldId="2134806359"/>
            <ac:spMk id="9" creationId="{86B5E6EA-EDC5-026A-2E3F-A47544EC16A6}"/>
          </ac:spMkLst>
        </pc:spChg>
        <pc:spChg chg="add mod">
          <ac:chgData name="STEPANCHENKO, D. (Dmitrii)" userId="30c9d29d-ac41-46ff-b2be-c3f5dd1e26e1" providerId="ADAL" clId="{B3A474F3-5485-4A93-8981-1E68ACC9F057}" dt="2023-02-03T12:51:56.833" v="4903" actId="1036"/>
          <ac:spMkLst>
            <pc:docMk/>
            <pc:sldMk cId="1026104641" sldId="2134806359"/>
            <ac:spMk id="10" creationId="{15D9BF7F-4C90-1394-B66E-CBC7251E95C3}"/>
          </ac:spMkLst>
        </pc:spChg>
        <pc:spChg chg="add mod">
          <ac:chgData name="STEPANCHENKO, D. (Dmitrii)" userId="30c9d29d-ac41-46ff-b2be-c3f5dd1e26e1" providerId="ADAL" clId="{B3A474F3-5485-4A93-8981-1E68ACC9F057}" dt="2023-02-05T07:42:57.111" v="6071" actId="208"/>
          <ac:spMkLst>
            <pc:docMk/>
            <pc:sldMk cId="1026104641" sldId="2134806359"/>
            <ac:spMk id="11" creationId="{C557FDDB-7E16-74F1-CC2E-122FB1FD8878}"/>
          </ac:spMkLst>
        </pc:spChg>
        <pc:spChg chg="mod">
          <ac:chgData name="STEPANCHENKO, D. (Dmitrii)" userId="30c9d29d-ac41-46ff-b2be-c3f5dd1e26e1" providerId="ADAL" clId="{B3A474F3-5485-4A93-8981-1E68ACC9F057}" dt="2023-02-03T12:51:56.833" v="4903" actId="1036"/>
          <ac:spMkLst>
            <pc:docMk/>
            <pc:sldMk cId="1026104641" sldId="2134806359"/>
            <ac:spMk id="12" creationId="{691892AB-BFF6-BC66-B9D9-FB8D87BFF529}"/>
          </ac:spMkLst>
        </pc:spChg>
        <pc:spChg chg="add del mod">
          <ac:chgData name="STEPANCHENKO, D. (Dmitrii)" userId="30c9d29d-ac41-46ff-b2be-c3f5dd1e26e1" providerId="ADAL" clId="{B3A474F3-5485-4A93-8981-1E68ACC9F057}" dt="2023-02-05T07:43:21.571" v="6073" actId="478"/>
          <ac:spMkLst>
            <pc:docMk/>
            <pc:sldMk cId="1026104641" sldId="2134806359"/>
            <ac:spMk id="13" creationId="{31AB62AB-F2F6-C2AA-AC8A-58A7DAC081F8}"/>
          </ac:spMkLst>
        </pc:spChg>
        <pc:spChg chg="mod">
          <ac:chgData name="STEPANCHENKO, D. (Dmitrii)" userId="30c9d29d-ac41-46ff-b2be-c3f5dd1e26e1" providerId="ADAL" clId="{B3A474F3-5485-4A93-8981-1E68ACC9F057}" dt="2023-02-03T12:51:56.833" v="4903" actId="1036"/>
          <ac:spMkLst>
            <pc:docMk/>
            <pc:sldMk cId="1026104641" sldId="2134806359"/>
            <ac:spMk id="14" creationId="{892427F7-B666-F565-1832-A2249DB5DE04}"/>
          </ac:spMkLst>
        </pc:spChg>
        <pc:spChg chg="mod">
          <ac:chgData name="STEPANCHENKO, D. (Dmitrii)" userId="30c9d29d-ac41-46ff-b2be-c3f5dd1e26e1" providerId="ADAL" clId="{B3A474F3-5485-4A93-8981-1E68ACC9F057}" dt="2023-02-03T12:51:56.833" v="4903" actId="1036"/>
          <ac:spMkLst>
            <pc:docMk/>
            <pc:sldMk cId="1026104641" sldId="2134806359"/>
            <ac:spMk id="16" creationId="{29B69AE6-5A8D-881D-1520-5886524BE4E6}"/>
          </ac:spMkLst>
        </pc:spChg>
        <pc:spChg chg="mod">
          <ac:chgData name="STEPANCHENKO, D. (Dmitrii)" userId="30c9d29d-ac41-46ff-b2be-c3f5dd1e26e1" providerId="ADAL" clId="{B3A474F3-5485-4A93-8981-1E68ACC9F057}" dt="2023-02-03T12:51:56.833" v="4903" actId="1036"/>
          <ac:spMkLst>
            <pc:docMk/>
            <pc:sldMk cId="1026104641" sldId="2134806359"/>
            <ac:spMk id="18" creationId="{E14D8F62-D3AA-4637-141A-5C770AE711ED}"/>
          </ac:spMkLst>
        </pc:spChg>
        <pc:spChg chg="mod">
          <ac:chgData name="STEPANCHENKO, D. (Dmitrii)" userId="30c9d29d-ac41-46ff-b2be-c3f5dd1e26e1" providerId="ADAL" clId="{B3A474F3-5485-4A93-8981-1E68ACC9F057}" dt="2023-02-03T12:51:56.833" v="4903" actId="1036"/>
          <ac:spMkLst>
            <pc:docMk/>
            <pc:sldMk cId="1026104641" sldId="2134806359"/>
            <ac:spMk id="20" creationId="{425E587E-EABA-2A90-8599-075A84194267}"/>
          </ac:spMkLst>
        </pc:spChg>
        <pc:spChg chg="mod">
          <ac:chgData name="STEPANCHENKO, D. (Dmitrii)" userId="30c9d29d-ac41-46ff-b2be-c3f5dd1e26e1" providerId="ADAL" clId="{B3A474F3-5485-4A93-8981-1E68ACC9F057}" dt="2023-02-03T12:51:56.833" v="4903" actId="1036"/>
          <ac:spMkLst>
            <pc:docMk/>
            <pc:sldMk cId="1026104641" sldId="2134806359"/>
            <ac:spMk id="22" creationId="{DE84A7F2-A254-2278-5354-3E09DB7CC2D8}"/>
          </ac:spMkLst>
        </pc:spChg>
        <pc:spChg chg="del">
          <ac:chgData name="STEPANCHENKO, D. (Dmitrii)" userId="30c9d29d-ac41-46ff-b2be-c3f5dd1e26e1" providerId="ADAL" clId="{B3A474F3-5485-4A93-8981-1E68ACC9F057}" dt="2023-02-02T18:56:05.236" v="1780" actId="478"/>
          <ac:spMkLst>
            <pc:docMk/>
            <pc:sldMk cId="1026104641" sldId="2134806359"/>
            <ac:spMk id="23" creationId="{B9C219CB-3B12-49F7-7DAB-C92AF856AB57}"/>
          </ac:spMkLst>
        </pc:spChg>
        <pc:spChg chg="del">
          <ac:chgData name="STEPANCHENKO, D. (Dmitrii)" userId="30c9d29d-ac41-46ff-b2be-c3f5dd1e26e1" providerId="ADAL" clId="{B3A474F3-5485-4A93-8981-1E68ACC9F057}" dt="2023-02-02T19:02:23.202" v="1811" actId="478"/>
          <ac:spMkLst>
            <pc:docMk/>
            <pc:sldMk cId="1026104641" sldId="2134806359"/>
            <ac:spMk id="24" creationId="{278664A0-ED84-274D-398C-F12996FE0D12}"/>
          </ac:spMkLst>
        </pc:spChg>
        <pc:spChg chg="del">
          <ac:chgData name="STEPANCHENKO, D. (Dmitrii)" userId="30c9d29d-ac41-46ff-b2be-c3f5dd1e26e1" providerId="ADAL" clId="{B3A474F3-5485-4A93-8981-1E68ACC9F057}" dt="2023-02-02T19:08:48.446" v="1972" actId="478"/>
          <ac:spMkLst>
            <pc:docMk/>
            <pc:sldMk cId="1026104641" sldId="2134806359"/>
            <ac:spMk id="25" creationId="{6A813E22-9F77-D0A9-75EC-EF8307D2D778}"/>
          </ac:spMkLst>
        </pc:spChg>
        <pc:spChg chg="del">
          <ac:chgData name="STEPANCHENKO, D. (Dmitrii)" userId="30c9d29d-ac41-46ff-b2be-c3f5dd1e26e1" providerId="ADAL" clId="{B3A474F3-5485-4A93-8981-1E68ACC9F057}" dt="2023-02-02T19:24:36.555" v="2104" actId="478"/>
          <ac:spMkLst>
            <pc:docMk/>
            <pc:sldMk cId="1026104641" sldId="2134806359"/>
            <ac:spMk id="26" creationId="{1680075F-F374-EBC4-9865-0AA52290493C}"/>
          </ac:spMkLst>
        </pc:spChg>
        <pc:spChg chg="del">
          <ac:chgData name="STEPANCHENKO, D. (Dmitrii)" userId="30c9d29d-ac41-46ff-b2be-c3f5dd1e26e1" providerId="ADAL" clId="{B3A474F3-5485-4A93-8981-1E68ACC9F057}" dt="2023-02-02T18:55:57.278" v="1779" actId="478"/>
          <ac:spMkLst>
            <pc:docMk/>
            <pc:sldMk cId="1026104641" sldId="2134806359"/>
            <ac:spMk id="29" creationId="{ABBA29A4-5C4C-010C-EF18-3287C8E4C44C}"/>
          </ac:spMkLst>
        </pc:spChg>
        <pc:spChg chg="del">
          <ac:chgData name="STEPANCHENKO, D. (Dmitrii)" userId="30c9d29d-ac41-46ff-b2be-c3f5dd1e26e1" providerId="ADAL" clId="{B3A474F3-5485-4A93-8981-1E68ACC9F057}" dt="2023-02-02T18:55:57.278" v="1779" actId="478"/>
          <ac:spMkLst>
            <pc:docMk/>
            <pc:sldMk cId="1026104641" sldId="2134806359"/>
            <ac:spMk id="30" creationId="{8EB843D7-79FA-09D3-5E96-29A330ABCE5F}"/>
          </ac:spMkLst>
        </pc:spChg>
        <pc:spChg chg="del">
          <ac:chgData name="STEPANCHENKO, D. (Dmitrii)" userId="30c9d29d-ac41-46ff-b2be-c3f5dd1e26e1" providerId="ADAL" clId="{B3A474F3-5485-4A93-8981-1E68ACC9F057}" dt="2023-02-02T18:55:57.278" v="1779" actId="478"/>
          <ac:spMkLst>
            <pc:docMk/>
            <pc:sldMk cId="1026104641" sldId="2134806359"/>
            <ac:spMk id="31" creationId="{197F8707-951D-0631-A66C-94FDB1F10A24}"/>
          </ac:spMkLst>
        </pc:spChg>
        <pc:spChg chg="del">
          <ac:chgData name="STEPANCHENKO, D. (Dmitrii)" userId="30c9d29d-ac41-46ff-b2be-c3f5dd1e26e1" providerId="ADAL" clId="{B3A474F3-5485-4A93-8981-1E68ACC9F057}" dt="2023-02-02T18:55:57.278" v="1779" actId="478"/>
          <ac:spMkLst>
            <pc:docMk/>
            <pc:sldMk cId="1026104641" sldId="2134806359"/>
            <ac:spMk id="32" creationId="{5F1045F2-C4DF-54A7-F2C2-7FD7EDEC2008}"/>
          </ac:spMkLst>
        </pc:spChg>
        <pc:spChg chg="del">
          <ac:chgData name="STEPANCHENKO, D. (Dmitrii)" userId="30c9d29d-ac41-46ff-b2be-c3f5dd1e26e1" providerId="ADAL" clId="{B3A474F3-5485-4A93-8981-1E68ACC9F057}" dt="2023-02-02T19:24:36.555" v="2104" actId="478"/>
          <ac:spMkLst>
            <pc:docMk/>
            <pc:sldMk cId="1026104641" sldId="2134806359"/>
            <ac:spMk id="33" creationId="{E20DFE2A-A534-8736-0B3A-8330307F0667}"/>
          </ac:spMkLst>
        </pc:spChg>
        <pc:spChg chg="mod">
          <ac:chgData name="STEPANCHENKO, D. (Dmitrii)" userId="30c9d29d-ac41-46ff-b2be-c3f5dd1e26e1" providerId="ADAL" clId="{B3A474F3-5485-4A93-8981-1E68ACC9F057}" dt="2023-02-03T12:51:56.833" v="4903" actId="1036"/>
          <ac:spMkLst>
            <pc:docMk/>
            <pc:sldMk cId="1026104641" sldId="2134806359"/>
            <ac:spMk id="36" creationId="{3E079531-13A5-4892-6DAC-CD5F6C9A3AAF}"/>
          </ac:spMkLst>
        </pc:spChg>
        <pc:spChg chg="mod">
          <ac:chgData name="STEPANCHENKO, D. (Dmitrii)" userId="30c9d29d-ac41-46ff-b2be-c3f5dd1e26e1" providerId="ADAL" clId="{B3A474F3-5485-4A93-8981-1E68ACC9F057}" dt="2023-02-03T12:51:56.833" v="4903" actId="1036"/>
          <ac:spMkLst>
            <pc:docMk/>
            <pc:sldMk cId="1026104641" sldId="2134806359"/>
            <ac:spMk id="38" creationId="{85E8FE80-1AA6-51F6-2B6B-4D8C670CE255}"/>
          </ac:spMkLst>
        </pc:spChg>
        <pc:spChg chg="mod">
          <ac:chgData name="STEPANCHENKO, D. (Dmitrii)" userId="30c9d29d-ac41-46ff-b2be-c3f5dd1e26e1" providerId="ADAL" clId="{B3A474F3-5485-4A93-8981-1E68ACC9F057}" dt="2023-02-03T12:51:56.833" v="4903" actId="1036"/>
          <ac:spMkLst>
            <pc:docMk/>
            <pc:sldMk cId="1026104641" sldId="2134806359"/>
            <ac:spMk id="40" creationId="{77785C50-DCEE-C328-E96C-84E2081D6FB3}"/>
          </ac:spMkLst>
        </pc:spChg>
        <pc:spChg chg="mod">
          <ac:chgData name="STEPANCHENKO, D. (Dmitrii)" userId="30c9d29d-ac41-46ff-b2be-c3f5dd1e26e1" providerId="ADAL" clId="{B3A474F3-5485-4A93-8981-1E68ACC9F057}" dt="2023-02-03T12:51:56.833" v="4903" actId="1036"/>
          <ac:spMkLst>
            <pc:docMk/>
            <pc:sldMk cId="1026104641" sldId="2134806359"/>
            <ac:spMk id="42" creationId="{9A5F33B5-7715-4CB3-AED9-AC01FA407A85}"/>
          </ac:spMkLst>
        </pc:spChg>
        <pc:spChg chg="del">
          <ac:chgData name="STEPANCHENKO, D. (Dmitrii)" userId="30c9d29d-ac41-46ff-b2be-c3f5dd1e26e1" providerId="ADAL" clId="{B3A474F3-5485-4A93-8981-1E68ACC9F057}" dt="2023-02-02T19:24:29.111" v="2103" actId="478"/>
          <ac:spMkLst>
            <pc:docMk/>
            <pc:sldMk cId="1026104641" sldId="2134806359"/>
            <ac:spMk id="47" creationId="{BE19C3B8-7E90-3936-7226-7B0303AADC99}"/>
          </ac:spMkLst>
        </pc:spChg>
        <pc:spChg chg="del">
          <ac:chgData name="STEPANCHENKO, D. (Dmitrii)" userId="30c9d29d-ac41-46ff-b2be-c3f5dd1e26e1" providerId="ADAL" clId="{B3A474F3-5485-4A93-8981-1E68ACC9F057}" dt="2023-02-02T19:24:29.111" v="2103" actId="478"/>
          <ac:spMkLst>
            <pc:docMk/>
            <pc:sldMk cId="1026104641" sldId="2134806359"/>
            <ac:spMk id="48" creationId="{177A5F38-9739-C6B0-976C-302CF43A2AA8}"/>
          </ac:spMkLst>
        </pc:spChg>
        <pc:picChg chg="del">
          <ac:chgData name="STEPANCHENKO, D. (Dmitrii)" userId="30c9d29d-ac41-46ff-b2be-c3f5dd1e26e1" providerId="ADAL" clId="{B3A474F3-5485-4A93-8981-1E68ACC9F057}" dt="2023-02-02T18:55:57.278" v="1779" actId="478"/>
          <ac:picMkLst>
            <pc:docMk/>
            <pc:sldMk cId="1026104641" sldId="2134806359"/>
            <ac:picMk id="28" creationId="{6C793684-DA0C-5D7D-3C6B-393111001F18}"/>
          </ac:picMkLst>
        </pc:picChg>
        <pc:cxnChg chg="mod">
          <ac:chgData name="STEPANCHENKO, D. (Dmitrii)" userId="30c9d29d-ac41-46ff-b2be-c3f5dd1e26e1" providerId="ADAL" clId="{B3A474F3-5485-4A93-8981-1E68ACC9F057}" dt="2023-02-03T12:51:56.833" v="4903" actId="1036"/>
          <ac:cxnSpMkLst>
            <pc:docMk/>
            <pc:sldMk cId="1026104641" sldId="2134806359"/>
            <ac:cxnSpMk id="35" creationId="{E6FE4E7D-1D34-B95E-A499-1861ECA8B294}"/>
          </ac:cxnSpMkLst>
        </pc:cxnChg>
        <pc:cxnChg chg="mod">
          <ac:chgData name="STEPANCHENKO, D. (Dmitrii)" userId="30c9d29d-ac41-46ff-b2be-c3f5dd1e26e1" providerId="ADAL" clId="{B3A474F3-5485-4A93-8981-1E68ACC9F057}" dt="2023-02-03T12:51:56.833" v="4903" actId="1036"/>
          <ac:cxnSpMkLst>
            <pc:docMk/>
            <pc:sldMk cId="1026104641" sldId="2134806359"/>
            <ac:cxnSpMk id="43" creationId="{A4CC6D6F-42B4-BD32-F214-CE2EE686726D}"/>
          </ac:cxnSpMkLst>
        </pc:cxnChg>
        <pc:cxnChg chg="mod">
          <ac:chgData name="STEPANCHENKO, D. (Dmitrii)" userId="30c9d29d-ac41-46ff-b2be-c3f5dd1e26e1" providerId="ADAL" clId="{B3A474F3-5485-4A93-8981-1E68ACC9F057}" dt="2023-02-03T12:51:56.833" v="4903" actId="1036"/>
          <ac:cxnSpMkLst>
            <pc:docMk/>
            <pc:sldMk cId="1026104641" sldId="2134806359"/>
            <ac:cxnSpMk id="44" creationId="{9B819088-06E2-B36B-65EB-7AB4F412E117}"/>
          </ac:cxnSpMkLst>
        </pc:cxnChg>
        <pc:cxnChg chg="mod">
          <ac:chgData name="STEPANCHENKO, D. (Dmitrii)" userId="30c9d29d-ac41-46ff-b2be-c3f5dd1e26e1" providerId="ADAL" clId="{B3A474F3-5485-4A93-8981-1E68ACC9F057}" dt="2023-02-03T12:51:56.833" v="4903" actId="1036"/>
          <ac:cxnSpMkLst>
            <pc:docMk/>
            <pc:sldMk cId="1026104641" sldId="2134806359"/>
            <ac:cxnSpMk id="45" creationId="{0DCA9C1F-E974-524B-108F-888416170AD1}"/>
          </ac:cxnSpMkLst>
        </pc:cxnChg>
      </pc:sldChg>
      <pc:sldChg chg="addSp delSp modSp add mod ord">
        <pc:chgData name="STEPANCHENKO, D. (Dmitrii)" userId="30c9d29d-ac41-46ff-b2be-c3f5dd1e26e1" providerId="ADAL" clId="{B3A474F3-5485-4A93-8981-1E68ACC9F057}" dt="2023-02-05T10:49:47.460" v="7334" actId="27918"/>
        <pc:sldMkLst>
          <pc:docMk/>
          <pc:sldMk cId="3050701029" sldId="2134806360"/>
        </pc:sldMkLst>
        <pc:spChg chg="add mod">
          <ac:chgData name="STEPANCHENKO, D. (Dmitrii)" userId="30c9d29d-ac41-46ff-b2be-c3f5dd1e26e1" providerId="ADAL" clId="{B3A474F3-5485-4A93-8981-1E68ACC9F057}" dt="2023-02-03T13:13:11.739" v="4997" actId="1035"/>
          <ac:spMkLst>
            <pc:docMk/>
            <pc:sldMk cId="3050701029" sldId="2134806360"/>
            <ac:spMk id="3" creationId="{799FEC2B-CF67-AFD4-D2C1-5FEB03E68CCB}"/>
          </ac:spMkLst>
        </pc:spChg>
        <pc:spChg chg="mod">
          <ac:chgData name="STEPANCHENKO, D. (Dmitrii)" userId="30c9d29d-ac41-46ff-b2be-c3f5dd1e26e1" providerId="ADAL" clId="{B3A474F3-5485-4A93-8981-1E68ACC9F057}" dt="2023-02-03T09:34:34.125" v="3517" actId="20577"/>
          <ac:spMkLst>
            <pc:docMk/>
            <pc:sldMk cId="3050701029" sldId="2134806360"/>
            <ac:spMk id="5" creationId="{81BD1123-3626-1C45-BF5B-1C1864FA8AFA}"/>
          </ac:spMkLst>
        </pc:spChg>
        <pc:spChg chg="add mod ord">
          <ac:chgData name="STEPANCHENKO, D. (Dmitrii)" userId="30c9d29d-ac41-46ff-b2be-c3f5dd1e26e1" providerId="ADAL" clId="{B3A474F3-5485-4A93-8981-1E68ACC9F057}" dt="2023-02-03T13:13:11.739" v="4997" actId="1035"/>
          <ac:spMkLst>
            <pc:docMk/>
            <pc:sldMk cId="3050701029" sldId="2134806360"/>
            <ac:spMk id="7" creationId="{CB537DF0-2C56-FAB1-4735-FE84E6143B55}"/>
          </ac:spMkLst>
        </pc:spChg>
        <pc:spChg chg="add mod ord">
          <ac:chgData name="STEPANCHENKO, D. (Dmitrii)" userId="30c9d29d-ac41-46ff-b2be-c3f5dd1e26e1" providerId="ADAL" clId="{B3A474F3-5485-4A93-8981-1E68ACC9F057}" dt="2023-02-03T13:13:11.739" v="4997" actId="1035"/>
          <ac:spMkLst>
            <pc:docMk/>
            <pc:sldMk cId="3050701029" sldId="2134806360"/>
            <ac:spMk id="8" creationId="{72EA6943-2A64-55C9-8B2E-AEB90109CCCB}"/>
          </ac:spMkLst>
        </pc:spChg>
        <pc:spChg chg="add mod">
          <ac:chgData name="STEPANCHENKO, D. (Dmitrii)" userId="30c9d29d-ac41-46ff-b2be-c3f5dd1e26e1" providerId="ADAL" clId="{B3A474F3-5485-4A93-8981-1E68ACC9F057}" dt="2023-02-03T13:13:11.739" v="4997" actId="1035"/>
          <ac:spMkLst>
            <pc:docMk/>
            <pc:sldMk cId="3050701029" sldId="2134806360"/>
            <ac:spMk id="9" creationId="{DB2F9749-4F12-033E-0E64-F0FAA3D570BE}"/>
          </ac:spMkLst>
        </pc:spChg>
        <pc:spChg chg="add mod">
          <ac:chgData name="STEPANCHENKO, D. (Dmitrii)" userId="30c9d29d-ac41-46ff-b2be-c3f5dd1e26e1" providerId="ADAL" clId="{B3A474F3-5485-4A93-8981-1E68ACC9F057}" dt="2023-02-03T13:13:11.739" v="4997" actId="1035"/>
          <ac:spMkLst>
            <pc:docMk/>
            <pc:sldMk cId="3050701029" sldId="2134806360"/>
            <ac:spMk id="10" creationId="{5D576874-2D00-2366-A04F-0F3F042ADD75}"/>
          </ac:spMkLst>
        </pc:spChg>
        <pc:spChg chg="add mod">
          <ac:chgData name="STEPANCHENKO, D. (Dmitrii)" userId="30c9d29d-ac41-46ff-b2be-c3f5dd1e26e1" providerId="ADAL" clId="{B3A474F3-5485-4A93-8981-1E68ACC9F057}" dt="2023-02-03T13:13:11.739" v="4997" actId="1035"/>
          <ac:spMkLst>
            <pc:docMk/>
            <pc:sldMk cId="3050701029" sldId="2134806360"/>
            <ac:spMk id="11" creationId="{8504C119-BEA9-524C-1022-727C4AE30907}"/>
          </ac:spMkLst>
        </pc:spChg>
        <pc:spChg chg="add mod">
          <ac:chgData name="STEPANCHENKO, D. (Dmitrii)" userId="30c9d29d-ac41-46ff-b2be-c3f5dd1e26e1" providerId="ADAL" clId="{B3A474F3-5485-4A93-8981-1E68ACC9F057}" dt="2023-02-03T13:13:11.739" v="4997" actId="1035"/>
          <ac:spMkLst>
            <pc:docMk/>
            <pc:sldMk cId="3050701029" sldId="2134806360"/>
            <ac:spMk id="12" creationId="{47F2669B-94AC-24C6-A408-E70BDDD2ED3A}"/>
          </ac:spMkLst>
        </pc:spChg>
        <pc:spChg chg="add mod">
          <ac:chgData name="STEPANCHENKO, D. (Dmitrii)" userId="30c9d29d-ac41-46ff-b2be-c3f5dd1e26e1" providerId="ADAL" clId="{B3A474F3-5485-4A93-8981-1E68ACC9F057}" dt="2023-02-03T10:10:09.629" v="4093" actId="1076"/>
          <ac:spMkLst>
            <pc:docMk/>
            <pc:sldMk cId="3050701029" sldId="2134806360"/>
            <ac:spMk id="13" creationId="{5D58D87C-1A2A-7499-C081-34D5F8E8C488}"/>
          </ac:spMkLst>
        </pc:spChg>
        <pc:spChg chg="add mod">
          <ac:chgData name="STEPANCHENKO, D. (Dmitrii)" userId="30c9d29d-ac41-46ff-b2be-c3f5dd1e26e1" providerId="ADAL" clId="{B3A474F3-5485-4A93-8981-1E68ACC9F057}" dt="2023-02-03T13:15:14.704" v="5061" actId="20577"/>
          <ac:spMkLst>
            <pc:docMk/>
            <pc:sldMk cId="3050701029" sldId="2134806360"/>
            <ac:spMk id="16" creationId="{78C475F6-4FB8-CD0D-9D36-50D2F655CF94}"/>
          </ac:spMkLst>
        </pc:spChg>
        <pc:graphicFrameChg chg="add del mod">
          <ac:chgData name="STEPANCHENKO, D. (Dmitrii)" userId="30c9d29d-ac41-46ff-b2be-c3f5dd1e26e1" providerId="ADAL" clId="{B3A474F3-5485-4A93-8981-1E68ACC9F057}" dt="2023-02-03T09:46:36.885" v="3534" actId="478"/>
          <ac:graphicFrameMkLst>
            <pc:docMk/>
            <pc:sldMk cId="3050701029" sldId="2134806360"/>
            <ac:graphicFrameMk id="4" creationId="{FB8C3C90-E4E7-5104-1963-E01B545F4080}"/>
          </ac:graphicFrameMkLst>
        </pc:graphicFrameChg>
        <pc:graphicFrameChg chg="add mod">
          <ac:chgData name="STEPANCHENKO, D. (Dmitrii)" userId="30c9d29d-ac41-46ff-b2be-c3f5dd1e26e1" providerId="ADAL" clId="{B3A474F3-5485-4A93-8981-1E68ACC9F057}" dt="2023-02-03T13:13:11.739" v="4997" actId="1035"/>
          <ac:graphicFrameMkLst>
            <pc:docMk/>
            <pc:sldMk cId="3050701029" sldId="2134806360"/>
            <ac:graphicFrameMk id="6" creationId="{FB8C3C90-E4E7-5104-1963-E01B545F4080}"/>
          </ac:graphicFrameMkLst>
        </pc:graphicFrameChg>
        <pc:picChg chg="add mod">
          <ac:chgData name="STEPANCHENKO, D. (Dmitrii)" userId="30c9d29d-ac41-46ff-b2be-c3f5dd1e26e1" providerId="ADAL" clId="{B3A474F3-5485-4A93-8981-1E68ACC9F057}" dt="2023-02-03T13:13:11.739" v="4997" actId="1035"/>
          <ac:picMkLst>
            <pc:docMk/>
            <pc:sldMk cId="3050701029" sldId="2134806360"/>
            <ac:picMk id="15" creationId="{C90AD324-2A4D-D37E-352B-BFA5715A5DF7}"/>
          </ac:picMkLst>
        </pc:picChg>
      </pc:sldChg>
      <pc:sldChg chg="addSp delSp modSp add mod">
        <pc:chgData name="STEPANCHENKO, D. (Dmitrii)" userId="30c9d29d-ac41-46ff-b2be-c3f5dd1e26e1" providerId="ADAL" clId="{B3A474F3-5485-4A93-8981-1E68ACC9F057}" dt="2023-02-04T11:06:10.158" v="6069" actId="20577"/>
        <pc:sldMkLst>
          <pc:docMk/>
          <pc:sldMk cId="150677344" sldId="2134806361"/>
        </pc:sldMkLst>
        <pc:spChg chg="add mod">
          <ac:chgData name="STEPANCHENKO, D. (Dmitrii)" userId="30c9d29d-ac41-46ff-b2be-c3f5dd1e26e1" providerId="ADAL" clId="{B3A474F3-5485-4A93-8981-1E68ACC9F057}" dt="2023-02-04T11:06:10.158" v="6069" actId="20577"/>
          <ac:spMkLst>
            <pc:docMk/>
            <pc:sldMk cId="150677344" sldId="2134806361"/>
            <ac:spMk id="4" creationId="{F3FC11F7-4389-FD87-68D7-2BA322BB672C}"/>
          </ac:spMkLst>
        </pc:spChg>
        <pc:spChg chg="mod">
          <ac:chgData name="STEPANCHENKO, D. (Dmitrii)" userId="30c9d29d-ac41-46ff-b2be-c3f5dd1e26e1" providerId="ADAL" clId="{B3A474F3-5485-4A93-8981-1E68ACC9F057}" dt="2023-02-03T13:18:46.820" v="5165" actId="14100"/>
          <ac:spMkLst>
            <pc:docMk/>
            <pc:sldMk cId="150677344" sldId="2134806361"/>
            <ac:spMk id="5" creationId="{81BD1123-3626-1C45-BF5B-1C1864FA8AFA}"/>
          </ac:spMkLst>
        </pc:spChg>
        <pc:spChg chg="add mod">
          <ac:chgData name="STEPANCHENKO, D. (Dmitrii)" userId="30c9d29d-ac41-46ff-b2be-c3f5dd1e26e1" providerId="ADAL" clId="{B3A474F3-5485-4A93-8981-1E68ACC9F057}" dt="2023-02-04T11:01:46.470" v="5785" actId="207"/>
          <ac:spMkLst>
            <pc:docMk/>
            <pc:sldMk cId="150677344" sldId="2134806361"/>
            <ac:spMk id="8" creationId="{CED36A94-2A1B-92BF-60BC-84B5F178D9B3}"/>
          </ac:spMkLst>
        </pc:spChg>
        <pc:spChg chg="add mod">
          <ac:chgData name="STEPANCHENKO, D. (Dmitrii)" userId="30c9d29d-ac41-46ff-b2be-c3f5dd1e26e1" providerId="ADAL" clId="{B3A474F3-5485-4A93-8981-1E68ACC9F057}" dt="2023-02-04T11:03:23.101" v="5842" actId="207"/>
          <ac:spMkLst>
            <pc:docMk/>
            <pc:sldMk cId="150677344" sldId="2134806361"/>
            <ac:spMk id="9" creationId="{AE8F7173-697A-28B5-0FD7-C04595058490}"/>
          </ac:spMkLst>
        </pc:spChg>
        <pc:spChg chg="add mod">
          <ac:chgData name="STEPANCHENKO, D. (Dmitrii)" userId="30c9d29d-ac41-46ff-b2be-c3f5dd1e26e1" providerId="ADAL" clId="{B3A474F3-5485-4A93-8981-1E68ACC9F057}" dt="2023-02-04T11:03:23.101" v="5842" actId="207"/>
          <ac:spMkLst>
            <pc:docMk/>
            <pc:sldMk cId="150677344" sldId="2134806361"/>
            <ac:spMk id="10" creationId="{F91D739C-F102-6C96-6AE6-8BE3084D218D}"/>
          </ac:spMkLst>
        </pc:spChg>
        <pc:spChg chg="add mod">
          <ac:chgData name="STEPANCHENKO, D. (Dmitrii)" userId="30c9d29d-ac41-46ff-b2be-c3f5dd1e26e1" providerId="ADAL" clId="{B3A474F3-5485-4A93-8981-1E68ACC9F057}" dt="2023-02-04T11:03:36.439" v="5847" actId="1076"/>
          <ac:spMkLst>
            <pc:docMk/>
            <pc:sldMk cId="150677344" sldId="2134806361"/>
            <ac:spMk id="11" creationId="{01B06DAC-BDA3-BBB7-A725-79AEDDD08B87}"/>
          </ac:spMkLst>
        </pc:spChg>
        <pc:spChg chg="add mod">
          <ac:chgData name="STEPANCHENKO, D. (Dmitrii)" userId="30c9d29d-ac41-46ff-b2be-c3f5dd1e26e1" providerId="ADAL" clId="{B3A474F3-5485-4A93-8981-1E68ACC9F057}" dt="2023-02-04T11:03:46.846" v="5850" actId="1076"/>
          <ac:spMkLst>
            <pc:docMk/>
            <pc:sldMk cId="150677344" sldId="2134806361"/>
            <ac:spMk id="12" creationId="{A5AC931C-5E67-9EE3-62BE-F570BEF88F37}"/>
          </ac:spMkLst>
        </pc:spChg>
        <pc:graphicFrameChg chg="add del mod">
          <ac:chgData name="STEPANCHENKO, D. (Dmitrii)" userId="30c9d29d-ac41-46ff-b2be-c3f5dd1e26e1" providerId="ADAL" clId="{B3A474F3-5485-4A93-8981-1E68ACC9F057}" dt="2023-02-04T10:59:57.519" v="5722" actId="478"/>
          <ac:graphicFrameMkLst>
            <pc:docMk/>
            <pc:sldMk cId="150677344" sldId="2134806361"/>
            <ac:graphicFrameMk id="3" creationId="{C8C5817E-D605-A8B6-72E4-90CB4A721C54}"/>
          </ac:graphicFrameMkLst>
        </pc:graphicFrameChg>
        <pc:picChg chg="add mod">
          <ac:chgData name="STEPANCHENKO, D. (Dmitrii)" userId="30c9d29d-ac41-46ff-b2be-c3f5dd1e26e1" providerId="ADAL" clId="{B3A474F3-5485-4A93-8981-1E68ACC9F057}" dt="2023-02-04T11:03:31.649" v="5845" actId="1076"/>
          <ac:picMkLst>
            <pc:docMk/>
            <pc:sldMk cId="150677344" sldId="2134806361"/>
            <ac:picMk id="7" creationId="{C3CD989C-9B31-5294-1A74-BF5F573C47DA}"/>
          </ac:picMkLst>
        </pc:picChg>
      </pc:sldChg>
      <pc:sldChg chg="addSp delSp modSp add mod">
        <pc:chgData name="STEPANCHENKO, D. (Dmitrii)" userId="30c9d29d-ac41-46ff-b2be-c3f5dd1e26e1" providerId="ADAL" clId="{B3A474F3-5485-4A93-8981-1E68ACC9F057}" dt="2023-02-05T10:16:36.824" v="7011" actId="27918"/>
        <pc:sldMkLst>
          <pc:docMk/>
          <pc:sldMk cId="2024875999" sldId="2134806362"/>
        </pc:sldMkLst>
        <pc:spChg chg="mod">
          <ac:chgData name="STEPANCHENKO, D. (Dmitrii)" userId="30c9d29d-ac41-46ff-b2be-c3f5dd1e26e1" providerId="ADAL" clId="{B3A474F3-5485-4A93-8981-1E68ACC9F057}" dt="2023-02-03T13:19:26.985" v="5186"/>
          <ac:spMkLst>
            <pc:docMk/>
            <pc:sldMk cId="2024875999" sldId="2134806362"/>
            <ac:spMk id="5" creationId="{81BD1123-3626-1C45-BF5B-1C1864FA8AFA}"/>
          </ac:spMkLst>
        </pc:spChg>
        <pc:spChg chg="add mod">
          <ac:chgData name="STEPANCHENKO, D. (Dmitrii)" userId="30c9d29d-ac41-46ff-b2be-c3f5dd1e26e1" providerId="ADAL" clId="{B3A474F3-5485-4A93-8981-1E68ACC9F057}" dt="2023-02-05T08:14:37.054" v="6756" actId="1035"/>
          <ac:spMkLst>
            <pc:docMk/>
            <pc:sldMk cId="2024875999" sldId="2134806362"/>
            <ac:spMk id="6" creationId="{C48FDFFD-03A4-C48E-D28F-C9FED01E1D5A}"/>
          </ac:spMkLst>
        </pc:spChg>
        <pc:spChg chg="add del mod">
          <ac:chgData name="STEPANCHENKO, D. (Dmitrii)" userId="30c9d29d-ac41-46ff-b2be-c3f5dd1e26e1" providerId="ADAL" clId="{B3A474F3-5485-4A93-8981-1E68ACC9F057}" dt="2023-02-05T08:09:08.510" v="6343"/>
          <ac:spMkLst>
            <pc:docMk/>
            <pc:sldMk cId="2024875999" sldId="2134806362"/>
            <ac:spMk id="7" creationId="{5FB9D2DD-F96B-1C57-4514-145EFE75E33C}"/>
          </ac:spMkLst>
        </pc:spChg>
        <pc:spChg chg="add mod">
          <ac:chgData name="STEPANCHENKO, D. (Dmitrii)" userId="30c9d29d-ac41-46ff-b2be-c3f5dd1e26e1" providerId="ADAL" clId="{B3A474F3-5485-4A93-8981-1E68ACC9F057}" dt="2023-02-05T08:09:50.417" v="6367" actId="1076"/>
          <ac:spMkLst>
            <pc:docMk/>
            <pc:sldMk cId="2024875999" sldId="2134806362"/>
            <ac:spMk id="8" creationId="{935A407E-9175-D469-AD30-CD99AA0B5470}"/>
          </ac:spMkLst>
        </pc:spChg>
        <pc:graphicFrameChg chg="add del mod">
          <ac:chgData name="STEPANCHENKO, D. (Dmitrii)" userId="30c9d29d-ac41-46ff-b2be-c3f5dd1e26e1" providerId="ADAL" clId="{B3A474F3-5485-4A93-8981-1E68ACC9F057}" dt="2023-02-05T08:00:10.913" v="6086" actId="478"/>
          <ac:graphicFrameMkLst>
            <pc:docMk/>
            <pc:sldMk cId="2024875999" sldId="2134806362"/>
            <ac:graphicFrameMk id="3" creationId="{C8C5817E-D605-A8B6-72E4-90CB4A721C54}"/>
          </ac:graphicFrameMkLst>
        </pc:graphicFrameChg>
        <pc:graphicFrameChg chg="add mod">
          <ac:chgData name="STEPANCHENKO, D. (Dmitrii)" userId="30c9d29d-ac41-46ff-b2be-c3f5dd1e26e1" providerId="ADAL" clId="{B3A474F3-5485-4A93-8981-1E68ACC9F057}" dt="2023-02-05T08:09:15.673" v="6346"/>
          <ac:graphicFrameMkLst>
            <pc:docMk/>
            <pc:sldMk cId="2024875999" sldId="2134806362"/>
            <ac:graphicFrameMk id="4" creationId="{C8C5817E-D605-A8B6-72E4-90CB4A721C54}"/>
          </ac:graphicFrameMkLst>
        </pc:graphicFrameChg>
        <pc:cxnChg chg="add mod">
          <ac:chgData name="STEPANCHENKO, D. (Dmitrii)" userId="30c9d29d-ac41-46ff-b2be-c3f5dd1e26e1" providerId="ADAL" clId="{B3A474F3-5485-4A93-8981-1E68ACC9F057}" dt="2023-02-05T08:10:05.170" v="6369" actId="208"/>
          <ac:cxnSpMkLst>
            <pc:docMk/>
            <pc:sldMk cId="2024875999" sldId="2134806362"/>
            <ac:cxnSpMk id="10" creationId="{003A6042-C5DD-45C7-9C1D-DB54A46D95DC}"/>
          </ac:cxnSpMkLst>
        </pc:cxnChg>
      </pc:sldChg>
      <pc:sldChg chg="modSp add mod modShow">
        <pc:chgData name="STEPANCHENKO, D. (Dmitrii)" userId="30c9d29d-ac41-46ff-b2be-c3f5dd1e26e1" providerId="ADAL" clId="{B3A474F3-5485-4A93-8981-1E68ACC9F057}" dt="2023-02-05T08:17:14.549" v="6757" actId="729"/>
        <pc:sldMkLst>
          <pc:docMk/>
          <pc:sldMk cId="1030256302" sldId="2134806363"/>
        </pc:sldMkLst>
        <pc:spChg chg="mod">
          <ac:chgData name="STEPANCHENKO, D. (Dmitrii)" userId="30c9d29d-ac41-46ff-b2be-c3f5dd1e26e1" providerId="ADAL" clId="{B3A474F3-5485-4A93-8981-1E68ACC9F057}" dt="2023-02-03T13:21:56.919" v="5299" actId="20577"/>
          <ac:spMkLst>
            <pc:docMk/>
            <pc:sldMk cId="1030256302" sldId="2134806363"/>
            <ac:spMk id="5" creationId="{81BD1123-3626-1C45-BF5B-1C1864FA8AFA}"/>
          </ac:spMkLst>
        </pc:spChg>
      </pc:sldChg>
      <pc:sldChg chg="addSp delSp modSp add mod modAnim">
        <pc:chgData name="STEPANCHENKO, D. (Dmitrii)" userId="30c9d29d-ac41-46ff-b2be-c3f5dd1e26e1" providerId="ADAL" clId="{B3A474F3-5485-4A93-8981-1E68ACC9F057}" dt="2023-02-05T10:49:49.993" v="7336" actId="27918"/>
        <pc:sldMkLst>
          <pc:docMk/>
          <pc:sldMk cId="2170462522" sldId="2134806364"/>
        </pc:sldMkLst>
        <pc:spChg chg="mod">
          <ac:chgData name="STEPANCHENKO, D. (Dmitrii)" userId="30c9d29d-ac41-46ff-b2be-c3f5dd1e26e1" providerId="ADAL" clId="{B3A474F3-5485-4A93-8981-1E68ACC9F057}" dt="2023-02-05T08:17:17.975" v="6759" actId="20577"/>
          <ac:spMkLst>
            <pc:docMk/>
            <pc:sldMk cId="2170462522" sldId="2134806364"/>
            <ac:spMk id="5" creationId="{81BD1123-3626-1C45-BF5B-1C1864FA8AFA}"/>
          </ac:spMkLst>
        </pc:spChg>
        <pc:spChg chg="add mod">
          <ac:chgData name="STEPANCHENKO, D. (Dmitrii)" userId="30c9d29d-ac41-46ff-b2be-c3f5dd1e26e1" providerId="ADAL" clId="{B3A474F3-5485-4A93-8981-1E68ACC9F057}" dt="2023-02-05T10:18:49.185" v="7097" actId="1076"/>
          <ac:spMkLst>
            <pc:docMk/>
            <pc:sldMk cId="2170462522" sldId="2134806364"/>
            <ac:spMk id="10" creationId="{820D784B-9292-94A1-2B7A-CC4506C2A2C5}"/>
          </ac:spMkLst>
        </pc:spChg>
        <pc:graphicFrameChg chg="add del mod">
          <ac:chgData name="STEPANCHENKO, D. (Dmitrii)" userId="30c9d29d-ac41-46ff-b2be-c3f5dd1e26e1" providerId="ADAL" clId="{B3A474F3-5485-4A93-8981-1E68ACC9F057}" dt="2023-02-05T10:04:45.997" v="6899" actId="478"/>
          <ac:graphicFrameMkLst>
            <pc:docMk/>
            <pc:sldMk cId="2170462522" sldId="2134806364"/>
            <ac:graphicFrameMk id="3" creationId="{15E1DE83-14A9-C65B-2B64-C0B1C480F5F0}"/>
          </ac:graphicFrameMkLst>
        </pc:graphicFrameChg>
        <pc:graphicFrameChg chg="add mod">
          <ac:chgData name="STEPANCHENKO, D. (Dmitrii)" userId="30c9d29d-ac41-46ff-b2be-c3f5dd1e26e1" providerId="ADAL" clId="{B3A474F3-5485-4A93-8981-1E68ACC9F057}" dt="2023-02-05T10:17:47.707" v="7013" actId="14100"/>
          <ac:graphicFrameMkLst>
            <pc:docMk/>
            <pc:sldMk cId="2170462522" sldId="2134806364"/>
            <ac:graphicFrameMk id="4" creationId="{B159A224-8179-C8AB-CAE9-8339C6F657DD}"/>
          </ac:graphicFrameMkLst>
        </pc:graphicFrameChg>
        <pc:graphicFrameChg chg="add mod">
          <ac:chgData name="STEPANCHENKO, D. (Dmitrii)" userId="30c9d29d-ac41-46ff-b2be-c3f5dd1e26e1" providerId="ADAL" clId="{B3A474F3-5485-4A93-8981-1E68ACC9F057}" dt="2023-02-05T10:17:47.707" v="7013" actId="14100"/>
          <ac:graphicFrameMkLst>
            <pc:docMk/>
            <pc:sldMk cId="2170462522" sldId="2134806364"/>
            <ac:graphicFrameMk id="9" creationId="{AF85494D-3A74-D6D6-345B-A29C0874A7A4}"/>
          </ac:graphicFrameMkLst>
        </pc:graphicFrameChg>
        <pc:cxnChg chg="add mod">
          <ac:chgData name="STEPANCHENKO, D. (Dmitrii)" userId="30c9d29d-ac41-46ff-b2be-c3f5dd1e26e1" providerId="ADAL" clId="{B3A474F3-5485-4A93-8981-1E68ACC9F057}" dt="2023-02-05T10:19:05.427" v="7133" actId="1038"/>
          <ac:cxnSpMkLst>
            <pc:docMk/>
            <pc:sldMk cId="2170462522" sldId="2134806364"/>
            <ac:cxnSpMk id="7" creationId="{5097CF43-5BB5-A4D7-B1C0-64B58D5F9976}"/>
          </ac:cxnSpMkLst>
        </pc:cxnChg>
        <pc:cxnChg chg="add mod">
          <ac:chgData name="STEPANCHENKO, D. (Dmitrii)" userId="30c9d29d-ac41-46ff-b2be-c3f5dd1e26e1" providerId="ADAL" clId="{B3A474F3-5485-4A93-8981-1E68ACC9F057}" dt="2023-02-05T10:19:09.968" v="7166" actId="1038"/>
          <ac:cxnSpMkLst>
            <pc:docMk/>
            <pc:sldMk cId="2170462522" sldId="2134806364"/>
            <ac:cxnSpMk id="8" creationId="{AAA8FA6B-E6E7-3145-7334-4883C3782DD4}"/>
          </ac:cxnSpMkLst>
        </pc:cxnChg>
      </pc:sldChg>
      <pc:sldChg chg="addSp delSp modSp add mod ord">
        <pc:chgData name="STEPANCHENKO, D. (Dmitrii)" userId="30c9d29d-ac41-46ff-b2be-c3f5dd1e26e1" providerId="ADAL" clId="{B3A474F3-5485-4A93-8981-1E68ACC9F057}" dt="2023-02-05T11:31:56.483" v="8487" actId="20577"/>
        <pc:sldMkLst>
          <pc:docMk/>
          <pc:sldMk cId="2009647800" sldId="2134806365"/>
        </pc:sldMkLst>
        <pc:spChg chg="add del mod">
          <ac:chgData name="STEPANCHENKO, D. (Dmitrii)" userId="30c9d29d-ac41-46ff-b2be-c3f5dd1e26e1" providerId="ADAL" clId="{B3A474F3-5485-4A93-8981-1E68ACC9F057}" dt="2023-02-03T11:55:38.367" v="4637" actId="478"/>
          <ac:spMkLst>
            <pc:docMk/>
            <pc:sldMk cId="2009647800" sldId="2134806365"/>
            <ac:spMk id="4" creationId="{24A99F7A-C996-EB89-3EE3-0849D373E964}"/>
          </ac:spMkLst>
        </pc:spChg>
        <pc:spChg chg="mod">
          <ac:chgData name="STEPANCHENKO, D. (Dmitrii)" userId="30c9d29d-ac41-46ff-b2be-c3f5dd1e26e1" providerId="ADAL" clId="{B3A474F3-5485-4A93-8981-1E68ACC9F057}" dt="2023-02-03T11:51:57.385" v="4474" actId="20577"/>
          <ac:spMkLst>
            <pc:docMk/>
            <pc:sldMk cId="2009647800" sldId="2134806365"/>
            <ac:spMk id="5" creationId="{81BD1123-3626-1C45-BF5B-1C1864FA8AFA}"/>
          </ac:spMkLst>
        </pc:spChg>
        <pc:spChg chg="add mod">
          <ac:chgData name="STEPANCHENKO, D. (Dmitrii)" userId="30c9d29d-ac41-46ff-b2be-c3f5dd1e26e1" providerId="ADAL" clId="{B3A474F3-5485-4A93-8981-1E68ACC9F057}" dt="2023-02-05T11:31:56.483" v="8487" actId="20577"/>
          <ac:spMkLst>
            <pc:docMk/>
            <pc:sldMk cId="2009647800" sldId="2134806365"/>
            <ac:spMk id="6" creationId="{0CC4AECF-C07E-D445-7662-1379531BFE9E}"/>
          </ac:spMkLst>
        </pc:spChg>
        <pc:graphicFrameChg chg="add mod">
          <ac:chgData name="STEPANCHENKO, D. (Dmitrii)" userId="30c9d29d-ac41-46ff-b2be-c3f5dd1e26e1" providerId="ADAL" clId="{B3A474F3-5485-4A93-8981-1E68ACC9F057}" dt="2023-02-03T11:55:10.797" v="4632" actId="255"/>
          <ac:graphicFrameMkLst>
            <pc:docMk/>
            <pc:sldMk cId="2009647800" sldId="2134806365"/>
            <ac:graphicFrameMk id="3" creationId="{D14F2AFB-9BE5-1194-5793-3A81C8CBA917}"/>
          </ac:graphicFrameMkLst>
        </pc:graphicFrameChg>
      </pc:sldChg>
      <pc:sldChg chg="modSp add del mod">
        <pc:chgData name="STEPANCHENKO, D. (Dmitrii)" userId="30c9d29d-ac41-46ff-b2be-c3f5dd1e26e1" providerId="ADAL" clId="{B3A474F3-5485-4A93-8981-1E68ACC9F057}" dt="2023-02-03T13:23:50.736" v="5411" actId="47"/>
        <pc:sldMkLst>
          <pc:docMk/>
          <pc:sldMk cId="2537524256" sldId="2134806366"/>
        </pc:sldMkLst>
        <pc:spChg chg="mod">
          <ac:chgData name="STEPANCHENKO, D. (Dmitrii)" userId="30c9d29d-ac41-46ff-b2be-c3f5dd1e26e1" providerId="ADAL" clId="{B3A474F3-5485-4A93-8981-1E68ACC9F057}" dt="2023-02-03T13:23:26.958" v="5410" actId="20577"/>
          <ac:spMkLst>
            <pc:docMk/>
            <pc:sldMk cId="2537524256" sldId="2134806366"/>
            <ac:spMk id="5" creationId="{81BD1123-3626-1C45-BF5B-1C1864FA8AFA}"/>
          </ac:spMkLst>
        </pc:spChg>
      </pc:sldChg>
      <pc:sldChg chg="add del">
        <pc:chgData name="STEPANCHENKO, D. (Dmitrii)" userId="30c9d29d-ac41-46ff-b2be-c3f5dd1e26e1" providerId="ADAL" clId="{B3A474F3-5485-4A93-8981-1E68ACC9F057}" dt="2023-02-03T13:28:06.701" v="5444" actId="47"/>
        <pc:sldMkLst>
          <pc:docMk/>
          <pc:sldMk cId="2932584647" sldId="2134806366"/>
        </pc:sldMkLst>
      </pc:sldChg>
      <pc:sldChg chg="delSp modSp add del mod">
        <pc:chgData name="STEPANCHENKO, D. (Dmitrii)" userId="30c9d29d-ac41-46ff-b2be-c3f5dd1e26e1" providerId="ADAL" clId="{B3A474F3-5485-4A93-8981-1E68ACC9F057}" dt="2023-02-05T11:02:38.098" v="7558" actId="47"/>
        <pc:sldMkLst>
          <pc:docMk/>
          <pc:sldMk cId="3722710193" sldId="2134806366"/>
        </pc:sldMkLst>
        <pc:spChg chg="del">
          <ac:chgData name="STEPANCHENKO, D. (Dmitrii)" userId="30c9d29d-ac41-46ff-b2be-c3f5dd1e26e1" providerId="ADAL" clId="{B3A474F3-5485-4A93-8981-1E68ACC9F057}" dt="2023-02-05T11:02:07.548" v="7546" actId="478"/>
          <ac:spMkLst>
            <pc:docMk/>
            <pc:sldMk cId="3722710193" sldId="2134806366"/>
            <ac:spMk id="3" creationId="{045058D7-B51E-D43C-FF13-E4066AB6D01E}"/>
          </ac:spMkLst>
        </pc:spChg>
        <pc:spChg chg="mod">
          <ac:chgData name="STEPANCHENKO, D. (Dmitrii)" userId="30c9d29d-ac41-46ff-b2be-c3f5dd1e26e1" providerId="ADAL" clId="{B3A474F3-5485-4A93-8981-1E68ACC9F057}" dt="2023-02-05T11:02:13.526" v="7557" actId="20577"/>
          <ac:spMkLst>
            <pc:docMk/>
            <pc:sldMk cId="3722710193" sldId="2134806366"/>
            <ac:spMk id="5" creationId="{81BD1123-3626-1C45-BF5B-1C1864FA8AFA}"/>
          </ac:spMkLst>
        </pc:spChg>
        <pc:spChg chg="del">
          <ac:chgData name="STEPANCHENKO, D. (Dmitrii)" userId="30c9d29d-ac41-46ff-b2be-c3f5dd1e26e1" providerId="ADAL" clId="{B3A474F3-5485-4A93-8981-1E68ACC9F057}" dt="2023-02-05T11:02:07.548" v="7546" actId="478"/>
          <ac:spMkLst>
            <pc:docMk/>
            <pc:sldMk cId="3722710193" sldId="2134806366"/>
            <ac:spMk id="8" creationId="{F11D3742-CF40-E007-1538-B06A5BE4DF00}"/>
          </ac:spMkLst>
        </pc:spChg>
        <pc:spChg chg="del">
          <ac:chgData name="STEPANCHENKO, D. (Dmitrii)" userId="30c9d29d-ac41-46ff-b2be-c3f5dd1e26e1" providerId="ADAL" clId="{B3A474F3-5485-4A93-8981-1E68ACC9F057}" dt="2023-02-05T11:02:07.548" v="7546" actId="478"/>
          <ac:spMkLst>
            <pc:docMk/>
            <pc:sldMk cId="3722710193" sldId="2134806366"/>
            <ac:spMk id="9" creationId="{4C313E30-499E-6F2E-FCC6-290F2158277F}"/>
          </ac:spMkLst>
        </pc:spChg>
        <pc:spChg chg="del">
          <ac:chgData name="STEPANCHENKO, D. (Dmitrii)" userId="30c9d29d-ac41-46ff-b2be-c3f5dd1e26e1" providerId="ADAL" clId="{B3A474F3-5485-4A93-8981-1E68ACC9F057}" dt="2023-02-05T11:02:07.548" v="7546" actId="478"/>
          <ac:spMkLst>
            <pc:docMk/>
            <pc:sldMk cId="3722710193" sldId="2134806366"/>
            <ac:spMk id="10" creationId="{06902B11-2E62-6667-4DA4-588903EA564A}"/>
          </ac:spMkLst>
        </pc:spChg>
        <pc:spChg chg="del">
          <ac:chgData name="STEPANCHENKO, D. (Dmitrii)" userId="30c9d29d-ac41-46ff-b2be-c3f5dd1e26e1" providerId="ADAL" clId="{B3A474F3-5485-4A93-8981-1E68ACC9F057}" dt="2023-02-05T11:02:07.548" v="7546" actId="478"/>
          <ac:spMkLst>
            <pc:docMk/>
            <pc:sldMk cId="3722710193" sldId="2134806366"/>
            <ac:spMk id="11" creationId="{BAF46B7A-A5FA-3049-5BEB-F797CE535516}"/>
          </ac:spMkLst>
        </pc:spChg>
        <pc:spChg chg="del">
          <ac:chgData name="STEPANCHENKO, D. (Dmitrii)" userId="30c9d29d-ac41-46ff-b2be-c3f5dd1e26e1" providerId="ADAL" clId="{B3A474F3-5485-4A93-8981-1E68ACC9F057}" dt="2023-02-05T11:02:07.548" v="7546" actId="478"/>
          <ac:spMkLst>
            <pc:docMk/>
            <pc:sldMk cId="3722710193" sldId="2134806366"/>
            <ac:spMk id="12" creationId="{A93478A3-6C9D-A223-9CB7-FD2BD0C93586}"/>
          </ac:spMkLst>
        </pc:spChg>
        <pc:spChg chg="del">
          <ac:chgData name="STEPANCHENKO, D. (Dmitrii)" userId="30c9d29d-ac41-46ff-b2be-c3f5dd1e26e1" providerId="ADAL" clId="{B3A474F3-5485-4A93-8981-1E68ACC9F057}" dt="2023-02-05T11:02:07.548" v="7546" actId="478"/>
          <ac:spMkLst>
            <pc:docMk/>
            <pc:sldMk cId="3722710193" sldId="2134806366"/>
            <ac:spMk id="13" creationId="{BE519FF1-1A77-0B1C-D0B9-EA4DD1972371}"/>
          </ac:spMkLst>
        </pc:spChg>
        <pc:spChg chg="del">
          <ac:chgData name="STEPANCHENKO, D. (Dmitrii)" userId="30c9d29d-ac41-46ff-b2be-c3f5dd1e26e1" providerId="ADAL" clId="{B3A474F3-5485-4A93-8981-1E68ACC9F057}" dt="2023-02-05T11:02:07.548" v="7546" actId="478"/>
          <ac:spMkLst>
            <pc:docMk/>
            <pc:sldMk cId="3722710193" sldId="2134806366"/>
            <ac:spMk id="14" creationId="{D11DE9F9-0FE8-6B19-637C-295C7F0C2F2A}"/>
          </ac:spMkLst>
        </pc:spChg>
        <pc:spChg chg="del">
          <ac:chgData name="STEPANCHENKO, D. (Dmitrii)" userId="30c9d29d-ac41-46ff-b2be-c3f5dd1e26e1" providerId="ADAL" clId="{B3A474F3-5485-4A93-8981-1E68ACC9F057}" dt="2023-02-05T11:02:07.548" v="7546" actId="478"/>
          <ac:spMkLst>
            <pc:docMk/>
            <pc:sldMk cId="3722710193" sldId="2134806366"/>
            <ac:spMk id="15" creationId="{F4296020-F564-77A7-4AFB-B495ED415644}"/>
          </ac:spMkLst>
        </pc:spChg>
        <pc:spChg chg="del">
          <ac:chgData name="STEPANCHENKO, D. (Dmitrii)" userId="30c9d29d-ac41-46ff-b2be-c3f5dd1e26e1" providerId="ADAL" clId="{B3A474F3-5485-4A93-8981-1E68ACC9F057}" dt="2023-02-05T11:02:07.548" v="7546" actId="478"/>
          <ac:spMkLst>
            <pc:docMk/>
            <pc:sldMk cId="3722710193" sldId="2134806366"/>
            <ac:spMk id="16" creationId="{193F4ADE-0A65-F57E-BC67-EB1EC48C95B4}"/>
          </ac:spMkLst>
        </pc:spChg>
        <pc:spChg chg="del">
          <ac:chgData name="STEPANCHENKO, D. (Dmitrii)" userId="30c9d29d-ac41-46ff-b2be-c3f5dd1e26e1" providerId="ADAL" clId="{B3A474F3-5485-4A93-8981-1E68ACC9F057}" dt="2023-02-05T11:02:07.548" v="7546" actId="478"/>
          <ac:spMkLst>
            <pc:docMk/>
            <pc:sldMk cId="3722710193" sldId="2134806366"/>
            <ac:spMk id="17" creationId="{C305597E-9E2E-EDF6-59E8-9605794AAA2B}"/>
          </ac:spMkLst>
        </pc:spChg>
        <pc:spChg chg="del">
          <ac:chgData name="STEPANCHENKO, D. (Dmitrii)" userId="30c9d29d-ac41-46ff-b2be-c3f5dd1e26e1" providerId="ADAL" clId="{B3A474F3-5485-4A93-8981-1E68ACC9F057}" dt="2023-02-05T11:02:07.548" v="7546" actId="478"/>
          <ac:spMkLst>
            <pc:docMk/>
            <pc:sldMk cId="3722710193" sldId="2134806366"/>
            <ac:spMk id="18" creationId="{B18081E6-1A5D-9381-138A-880A4AF120CB}"/>
          </ac:spMkLst>
        </pc:spChg>
        <pc:spChg chg="del">
          <ac:chgData name="STEPANCHENKO, D. (Dmitrii)" userId="30c9d29d-ac41-46ff-b2be-c3f5dd1e26e1" providerId="ADAL" clId="{B3A474F3-5485-4A93-8981-1E68ACC9F057}" dt="2023-02-05T11:02:07.548" v="7546" actId="478"/>
          <ac:spMkLst>
            <pc:docMk/>
            <pc:sldMk cId="3722710193" sldId="2134806366"/>
            <ac:spMk id="19" creationId="{494538AF-12C1-B927-2CC4-DF45A4C74607}"/>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a:extLst>
              <a:ext uri="{FF2B5EF4-FFF2-40B4-BE49-F238E27FC236}">
                <a16:creationId xmlns:a16="http://schemas.microsoft.com/office/drawing/2014/main" id="{B97180D7-B1F7-0C4C-AC17-93CEAA59374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a:extLst>
              <a:ext uri="{FF2B5EF4-FFF2-40B4-BE49-F238E27FC236}">
                <a16:creationId xmlns:a16="http://schemas.microsoft.com/office/drawing/2014/main" id="{A64E4E00-8D2E-D84B-8088-45B873471CD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C3AF864-2CD3-6048-8DC4-485EC2838207}" type="datetimeFigureOut">
              <a:rPr lang="ru-RU" smtClean="0"/>
              <a:t>20.02.2023</a:t>
            </a:fld>
            <a:endParaRPr lang="ru-RU"/>
          </a:p>
        </p:txBody>
      </p:sp>
      <p:sp>
        <p:nvSpPr>
          <p:cNvPr id="4" name="Нижний колонтитул 3">
            <a:extLst>
              <a:ext uri="{FF2B5EF4-FFF2-40B4-BE49-F238E27FC236}">
                <a16:creationId xmlns:a16="http://schemas.microsoft.com/office/drawing/2014/main" id="{FC1EED8B-FB1F-374B-ABD1-FD309C613CB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a:extLst>
              <a:ext uri="{FF2B5EF4-FFF2-40B4-BE49-F238E27FC236}">
                <a16:creationId xmlns:a16="http://schemas.microsoft.com/office/drawing/2014/main" id="{12C18920-3B0C-8641-A550-47892747AAC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B1EF4A4-1C9C-8547-8028-E591E942DEB1}" type="slidenum">
              <a:rPr lang="ru-RU" smtClean="0"/>
              <a:t>‹#›</a:t>
            </a:fld>
            <a:endParaRPr lang="ru-RU"/>
          </a:p>
        </p:txBody>
      </p:sp>
    </p:spTree>
    <p:extLst>
      <p:ext uri="{BB962C8B-B14F-4D97-AF65-F5344CB8AC3E}">
        <p14:creationId xmlns:p14="http://schemas.microsoft.com/office/powerpoint/2010/main" val="162301055"/>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B3A9580-5DD1-2F48-9402-1A45898D33DB}" type="datetimeFigureOut">
              <a:rPr lang="ru-RU" smtClean="0"/>
              <a:t>20.02.2023</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7A977D-FD21-5343-9077-4BC06D1F8CA3}" type="slidenum">
              <a:rPr lang="ru-RU" smtClean="0"/>
              <a:t>‹#›</a:t>
            </a:fld>
            <a:endParaRPr lang="ru-RU"/>
          </a:p>
        </p:txBody>
      </p:sp>
    </p:spTree>
    <p:extLst>
      <p:ext uri="{BB962C8B-B14F-4D97-AF65-F5344CB8AC3E}">
        <p14:creationId xmlns:p14="http://schemas.microsoft.com/office/powerpoint/2010/main" val="653869792"/>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http://8FB5843F48046975B704222F29D426D5.dms.sberbank.ru/8FB5843F48046975B704222F29D426D5-92DCC9725E0A03BFCF87C98938EC5031-F580345CCB2E5D2A12308062CC9D6F08/1.png" TargetMode="Externa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http://05311BFB0B7396CBCF59420FADC09062.dms.sberbank.ru/05311BFB0B7396CBCF59420FADC09062-A3706015402A346BAE2C7E4161CEDD42-AA08E215F1EBA7C368CDE302EC67DC4F/1.png" TargetMode="External"/><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6.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openxmlformats.org/officeDocument/2006/relationships/image" Target="http://5A9FAA11343EC11A72E306E41DBDD243.dms.sberbank.ru/5A9FAA11343EC11A72E306E41DBDD243-A3706015402A346BAE2C7E4161CEDD42-A43DBAE14D4A7BB44B4C51921CE89AF5/1.png" TargetMode="External"/><Relationship Id="rId2" Type="http://schemas.openxmlformats.org/officeDocument/2006/relationships/image" Target="http://5A9FAA11343EC11A72E306E41DBDD243.dms.sberbank.ru/5A9FAA11343EC11A72E306E41DBDD243-A3706015402A346BAE2C7E4161CEDD42-402F2720EE24403459B26CFD8111A0E2/1.png" TargetMode="External"/><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http://5A9FAA11343EC11A72E306E41DBDD243.dms.sberbank.ru/5A9FAA11343EC11A72E306E41DBDD243-A3706015402A346BAE2C7E4161CEDD42-78B027483C7D8D513BF49F01B3104E69/1.png" TargetMode="External"/><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2" Type="http://schemas.openxmlformats.org/officeDocument/2006/relationships/image" Target="http://5A9FAA11343EC11A72E306E41DBDD243.dms.sberbank.ru/5A9FAA11343EC11A72E306E41DBDD243-A3706015402A346BAE2C7E4161CEDD42-A43DBAE14D4A7BB44B4C51921CE89AF5/1.png" TargetMode="External"/><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http://05311BFB0B7396CBCF59420FADC09062.dms.sberbank.ru/05311BFB0B7396CBCF59420FADC09062-A43BE17F84EBF8A14D2FBB31548AE660-EA03F1F07397044467A7D5A37B53EE79/1.png" TargetMode="External"/><Relationship Id="rId5" Type="http://schemas.openxmlformats.org/officeDocument/2006/relationships/image" Target="NULL"/><Relationship Id="rId4" Type="http://schemas.openxmlformats.org/officeDocument/2006/relationships/oleObject" Target="../embeddings/oleObject9.bin"/></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18" Type="http://schemas.openxmlformats.org/officeDocument/2006/relationships/image" Target="../media/image26.png"/><Relationship Id="rId26" Type="http://schemas.openxmlformats.org/officeDocument/2006/relationships/image" Target="../media/image34.png"/><Relationship Id="rId3" Type="http://schemas.openxmlformats.org/officeDocument/2006/relationships/image" Target="../media/image11.png"/><Relationship Id="rId21" Type="http://schemas.openxmlformats.org/officeDocument/2006/relationships/image" Target="../media/image29.pn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png"/><Relationship Id="rId25" Type="http://schemas.openxmlformats.org/officeDocument/2006/relationships/image" Target="../media/image33.png"/><Relationship Id="rId2" Type="http://schemas.openxmlformats.org/officeDocument/2006/relationships/image" Target="../media/image10.png"/><Relationship Id="rId16" Type="http://schemas.openxmlformats.org/officeDocument/2006/relationships/image" Target="../media/image24.png"/><Relationship Id="rId20" Type="http://schemas.openxmlformats.org/officeDocument/2006/relationships/image" Target="../media/image28.png"/><Relationship Id="rId29" Type="http://schemas.openxmlformats.org/officeDocument/2006/relationships/image" Target="../media/image37.png"/><Relationship Id="rId1" Type="http://schemas.openxmlformats.org/officeDocument/2006/relationships/slideMaster" Target="../slideMasters/slideMaster7.xml"/><Relationship Id="rId6" Type="http://schemas.openxmlformats.org/officeDocument/2006/relationships/image" Target="../media/image14.png"/><Relationship Id="rId11" Type="http://schemas.openxmlformats.org/officeDocument/2006/relationships/image" Target="../media/image19.png"/><Relationship Id="rId24" Type="http://schemas.openxmlformats.org/officeDocument/2006/relationships/image" Target="../media/image32.png"/><Relationship Id="rId5" Type="http://schemas.openxmlformats.org/officeDocument/2006/relationships/image" Target="../media/image13.png"/><Relationship Id="rId15" Type="http://schemas.openxmlformats.org/officeDocument/2006/relationships/image" Target="../media/image23.png"/><Relationship Id="rId23" Type="http://schemas.openxmlformats.org/officeDocument/2006/relationships/image" Target="../media/image31.png"/><Relationship Id="rId28" Type="http://schemas.openxmlformats.org/officeDocument/2006/relationships/image" Target="../media/image36.png"/><Relationship Id="rId10" Type="http://schemas.openxmlformats.org/officeDocument/2006/relationships/image" Target="../media/image18.png"/><Relationship Id="rId19" Type="http://schemas.openxmlformats.org/officeDocument/2006/relationships/image" Target="../media/image27.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 Id="rId27" Type="http://schemas.openxmlformats.org/officeDocument/2006/relationships/image" Target="../media/image35.png"/><Relationship Id="rId30" Type="http://schemas.openxmlformats.org/officeDocument/2006/relationships/image" Target="../media/image38.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0.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28.png"/><Relationship Id="rId5" Type="http://schemas.openxmlformats.org/officeDocument/2006/relationships/image" Target="../media/image16.png"/><Relationship Id="rId15" Type="http://schemas.openxmlformats.org/officeDocument/2006/relationships/image" Target="../media/image33.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5.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9.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8.png"/><Relationship Id="rId15" Type="http://schemas.openxmlformats.org/officeDocument/2006/relationships/image" Target="../media/image17.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8.png"/><Relationship Id="rId15" Type="http://schemas.openxmlformats.org/officeDocument/2006/relationships/image" Target="../media/image15.png"/><Relationship Id="rId10" Type="http://schemas.openxmlformats.org/officeDocument/2006/relationships/image" Target="../media/image28.png"/><Relationship Id="rId4" Type="http://schemas.openxmlformats.org/officeDocument/2006/relationships/image" Target="../media/image16.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4.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ABD1954582B367FE0B5E580EEE7824CD/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8.png"/><Relationship Id="rId15" Type="http://schemas.openxmlformats.org/officeDocument/2006/relationships/image" Target="../media/image13.png"/><Relationship Id="rId10" Type="http://schemas.openxmlformats.org/officeDocument/2006/relationships/image" Target="../media/image28.png"/><Relationship Id="rId4" Type="http://schemas.openxmlformats.org/officeDocument/2006/relationships/image" Target="../media/image16.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4.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2.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8.png"/><Relationship Id="rId15" Type="http://schemas.openxmlformats.org/officeDocument/2006/relationships/image" Target="../media/image11.png"/><Relationship Id="rId10" Type="http://schemas.openxmlformats.org/officeDocument/2006/relationships/image" Target="../media/image28.png"/><Relationship Id="rId4" Type="http://schemas.openxmlformats.org/officeDocument/2006/relationships/image" Target="../media/image16.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1.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19.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7.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4.xml.rels><?xml version="1.0" encoding="UTF-8" standalone="yes"?>
<Relationships xmlns="http://schemas.openxmlformats.org/package/2006/relationships"><Relationship Id="rId2" Type="http://schemas.openxmlformats.org/officeDocument/2006/relationships/image" Target="http://93A7C4B339CCDD211E158032049A3A49.dms.sberbank.ru/93A7C4B339CCDD211E158032049A3A49-048609E64F524779FACC06A290525D57-028113238EC6D8AC5E862ACF66077798/1.png" TargetMode="External"/><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28.png"/><Relationship Id="rId5" Type="http://schemas.openxmlformats.org/officeDocument/2006/relationships/image" Target="../media/image16.png"/><Relationship Id="rId15" Type="http://schemas.openxmlformats.org/officeDocument/2006/relationships/image" Target="../media/image31.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2.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0.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28.png"/><Relationship Id="rId5" Type="http://schemas.openxmlformats.org/officeDocument/2006/relationships/image" Target="../media/image16.png"/><Relationship Id="rId15" Type="http://schemas.openxmlformats.org/officeDocument/2006/relationships/image" Target="../media/image35.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2.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0.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28.png"/><Relationship Id="rId5" Type="http://schemas.openxmlformats.org/officeDocument/2006/relationships/image" Target="../media/image16.png"/><Relationship Id="rId15" Type="http://schemas.openxmlformats.org/officeDocument/2006/relationships/image" Target="../media/image37.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4.png"/></Relationships>
</file>

<file path=ppt/slideLayouts/_rels/slideLayout43.xml.rels><?xml version="1.0" encoding="UTF-8" standalone="yes"?>
<Relationships xmlns="http://schemas.openxmlformats.org/package/2006/relationships"><Relationship Id="rId3" Type="http://schemas.openxmlformats.org/officeDocument/2006/relationships/image" Target="http://DF3E5075026D06B109AE70DBF9D6CDD1.dms.sberbank.ru/DF3E5075026D06B109AE70DBF9D6CDD1-92DCC9725E0A03BFCF87C98938EC5031-7C306E030999F7BF689A16489D167D10/1.png" TargetMode="External"/><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3" Type="http://schemas.openxmlformats.org/officeDocument/2006/relationships/image" Target="http://D0340E7D5E8451B36CF9DE5E517AB11D.dms.sberbank.ru/D0340E7D5E8451B36CF9DE5E517AB11D-76E77F61EA6BF346E8CD249421A1F0C6-979C24910635A5F09AF6D68FE94A4CA8/1.png" TargetMode="External"/><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http://277CFEF32177A4B1AA838F1AC8627F3C.dms.sberbank.ru/277CFEF32177A4B1AA838F1AC8627F3C-D721484550977C95F98CF7A7709B105F-B058A5EA472CB7D47202A9B873626704/1.png" TargetMode="External"/><Relationship Id="rId5" Type="http://schemas.openxmlformats.org/officeDocument/2006/relationships/image" Target="NULL"/><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2" Type="http://schemas.openxmlformats.org/officeDocument/2006/relationships/image" Target="http://93A7C4B339CCDD211E158032049A3A49.dms.sberbank.ru/93A7C4B339CCDD211E158032049A3A49-048609E64F524779FACC06A290525D57-028113238EC6D8AC5E862ACF66077798/1.png" TargetMode="External"/><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257548" y="6126266"/>
            <a:ext cx="521496" cy="365125"/>
          </a:xfrm>
          <a:prstGeom prst="rect">
            <a:avLst/>
          </a:prstGeom>
        </p:spPr>
        <p:txBody>
          <a:bodyPr/>
          <a:lstStyle/>
          <a:p>
            <a:fld id="{054C8753-49EE-4AA4-B7F7-004F2534EA1E}" type="slidenum">
              <a:rPr lang="ru-RU" smtClean="0"/>
              <a:t>‹#›</a:t>
            </a:fld>
            <a:endParaRPr lang="ru-RU" dirty="0"/>
          </a:p>
        </p:txBody>
      </p:sp>
      <p:pic>
        <p:nvPicPr>
          <p:cNvPr id="2" name="Рисунок 1" descr="http://8FB5843F48046975B704222F29D426D5.dms.sberbank.ru/8FB5843F48046975B704222F29D426D5-92DCC9725E0A03BFCF87C98938EC5031-F580345CCB2E5D2A12308062CC9D6F08/1.png"/>
          <p:cNvPicPr>
            <a:picLocks/>
          </p:cNvPicPr>
          <p:nvPr userDrawn="1"/>
        </p:nvPicPr>
        <p:blipFill>
          <a:blip r:link="rId2"/>
          <a:stretch>
            <a:fillRect/>
          </a:stretch>
        </p:blipFill>
        <p:spPr>
          <a:xfrm>
            <a:off x="0" y="0"/>
            <a:ext cx="1588" cy="1588"/>
          </a:xfrm>
          <a:prstGeom prst="rect">
            <a:avLst/>
          </a:prstGeom>
        </p:spPr>
      </p:pic>
      <p:pic>
        <p:nvPicPr>
          <p:cNvPr id="3" name="Рисунок 2" descr="http://8FB5843F48046975B704222F29D426D5.dms.sberbank.ru/8FB5843F48046975B704222F29D426D5-92DCC9725E0A03BFCF87C98938EC5031-F580345CCB2E5D2A12308062CC9D6F08/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7647654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257548" y="6126265"/>
            <a:ext cx="521496" cy="365125"/>
          </a:xfrm>
          <a:prstGeom prst="rect">
            <a:avLst/>
          </a:prstGeom>
        </p:spPr>
        <p:txBody>
          <a:bodyPr/>
          <a:lstStyle/>
          <a:p>
            <a:fld id="{054C8753-49EE-4AA4-B7F7-004F2534EA1E}" type="slidenum">
              <a:rPr lang="ru-RU" smtClean="0"/>
              <a:pPr/>
              <a:t>‹#›</a:t>
            </a:fld>
            <a:endParaRPr lang="ru-RU" dirty="0"/>
          </a:p>
        </p:txBody>
      </p:sp>
    </p:spTree>
    <p:extLst>
      <p:ext uri="{BB962C8B-B14F-4D97-AF65-F5344CB8AC3E}">
        <p14:creationId xmlns:p14="http://schemas.microsoft.com/office/powerpoint/2010/main" val="14532315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Титул с картинкой на фоне">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12192000" cy="6858000"/>
          </a:xfrm>
          <a:prstGeom prst="rect">
            <a:avLst/>
          </a:prstGeom>
        </p:spPr>
        <p:txBody>
          <a:bodyPr lIns="68580" tIns="34290" rIns="68580" bIns="34290"/>
          <a:lstStyle>
            <a:lvl1pPr>
              <a:defRPr sz="1200">
                <a:solidFill>
                  <a:schemeClr val="bg1"/>
                </a:solidFill>
              </a:defRPr>
            </a:lvl1pPr>
          </a:lstStyle>
          <a:p>
            <a:endParaRPr lang="en-US" dirty="0"/>
          </a:p>
        </p:txBody>
      </p:sp>
      <p:sp>
        <p:nvSpPr>
          <p:cNvPr id="33" name="Title 9"/>
          <p:cNvSpPr>
            <a:spLocks noGrp="1"/>
          </p:cNvSpPr>
          <p:nvPr>
            <p:ph type="title" hasCustomPrompt="1"/>
          </p:nvPr>
        </p:nvSpPr>
        <p:spPr>
          <a:xfrm>
            <a:off x="587378" y="2097092"/>
            <a:ext cx="10188575" cy="701731"/>
          </a:xfrm>
          <a:prstGeom prst="rect">
            <a:avLst/>
          </a:prstGeom>
        </p:spPr>
        <p:txBody>
          <a:bodyPr lIns="68580" tIns="34290" rIns="68580" bIns="34290" anchor="t" anchorCtr="0">
            <a:spAutoFit/>
          </a:bodyPr>
          <a:lstStyle>
            <a:lvl1pPr>
              <a:lnSpc>
                <a:spcPct val="90000"/>
              </a:lnSpc>
              <a:defRPr sz="4400" b="0" i="0" cap="none" baseline="0">
                <a:solidFill>
                  <a:schemeClr val="bg1"/>
                </a:solidFill>
                <a:latin typeface="+mj-lt"/>
                <a:ea typeface="Calibri Light" charset="0"/>
                <a:cs typeface="Calibri Light" charset="0"/>
              </a:defRPr>
            </a:lvl1pPr>
          </a:lstStyle>
          <a:p>
            <a:r>
              <a:rPr lang="ru-RU" dirty="0"/>
              <a:t>Название презентации</a:t>
            </a:r>
            <a:endParaRPr lang="en-US" dirty="0"/>
          </a:p>
        </p:txBody>
      </p:sp>
      <p:sp>
        <p:nvSpPr>
          <p:cNvPr id="4" name="Text Placeholder 3"/>
          <p:cNvSpPr>
            <a:spLocks noGrp="1"/>
          </p:cNvSpPr>
          <p:nvPr>
            <p:ph type="body" sz="quarter" idx="12" hasCustomPrompt="1"/>
          </p:nvPr>
        </p:nvSpPr>
        <p:spPr>
          <a:xfrm>
            <a:off x="587378" y="4344989"/>
            <a:ext cx="7561263" cy="401648"/>
          </a:xfrm>
          <a:prstGeom prst="rect">
            <a:avLst/>
          </a:prstGeom>
        </p:spPr>
        <p:txBody>
          <a:bodyPr lIns="68580" tIns="34290" rIns="68580" bIns="34290">
            <a:spAutoFit/>
          </a:bodyPr>
          <a:lstStyle>
            <a:lvl1pPr>
              <a:defRPr lang="en-US" sz="2400" b="0" i="0" kern="1200" cap="none" baseline="0">
                <a:solidFill>
                  <a:schemeClr val="bg1"/>
                </a:solidFill>
                <a:latin typeface="+mj-lt"/>
                <a:ea typeface="Calibri" charset="0"/>
                <a:cs typeface="Calibri" charset="0"/>
              </a:defRPr>
            </a:lvl1pPr>
            <a:lvl2pPr marL="0" marR="0" indent="0" algn="l" defTabSz="914377" rtl="0" eaLnBrk="1" fontAlgn="auto" latinLnBrk="0" hangingPunct="1">
              <a:lnSpc>
                <a:spcPct val="100000"/>
              </a:lnSpc>
              <a:spcBef>
                <a:spcPct val="0"/>
              </a:spcBef>
              <a:spcAft>
                <a:spcPts val="0"/>
              </a:spcAft>
              <a:buClrTx/>
              <a:buSzTx/>
              <a:buFont typeface="Arial"/>
              <a:buNone/>
              <a:tabLst/>
              <a:defRPr/>
            </a:lvl2pPr>
          </a:lstStyle>
          <a:p>
            <a:pPr lvl="0"/>
            <a:r>
              <a:rPr lang="ru-RU" dirty="0"/>
              <a:t>Дополнительный текст, пояснение, подзаголовок</a:t>
            </a:r>
          </a:p>
        </p:txBody>
      </p:sp>
      <p:sp>
        <p:nvSpPr>
          <p:cNvPr id="6" name="Shape"/>
          <p:cNvSpPr/>
          <p:nvPr userDrawn="1"/>
        </p:nvSpPr>
        <p:spPr>
          <a:xfrm>
            <a:off x="695330" y="692154"/>
            <a:ext cx="1990513" cy="374625"/>
          </a:xfrm>
          <a:custGeom>
            <a:avLst/>
            <a:gdLst/>
            <a:ahLst/>
            <a:cxnLst>
              <a:cxn ang="0">
                <a:pos x="wd2" y="hd2"/>
              </a:cxn>
              <a:cxn ang="5400000">
                <a:pos x="wd2" y="hd2"/>
              </a:cxn>
              <a:cxn ang="10800000">
                <a:pos x="wd2" y="hd2"/>
              </a:cxn>
              <a:cxn ang="16200000">
                <a:pos x="wd2" y="hd2"/>
              </a:cxn>
            </a:cxnLst>
            <a:rect l="0" t="0" r="r" b="b"/>
            <a:pathLst>
              <a:path w="21600" h="21600" extrusionOk="0">
                <a:moveTo>
                  <a:pt x="2936" y="0"/>
                </a:moveTo>
                <a:lnTo>
                  <a:pt x="1286" y="5042"/>
                </a:lnTo>
                <a:lnTo>
                  <a:pt x="551" y="2798"/>
                </a:lnTo>
                <a:cubicBezTo>
                  <a:pt x="499" y="3104"/>
                  <a:pt x="449" y="3428"/>
                  <a:pt x="403" y="3762"/>
                </a:cubicBezTo>
                <a:cubicBezTo>
                  <a:pt x="403" y="3762"/>
                  <a:pt x="1286" y="6458"/>
                  <a:pt x="1286" y="6458"/>
                </a:cubicBezTo>
                <a:lnTo>
                  <a:pt x="3183" y="659"/>
                </a:lnTo>
                <a:cubicBezTo>
                  <a:pt x="3104" y="413"/>
                  <a:pt x="3022" y="191"/>
                  <a:pt x="2936" y="0"/>
                </a:cubicBezTo>
                <a:close/>
                <a:moveTo>
                  <a:pt x="3397" y="1421"/>
                </a:moveTo>
                <a:lnTo>
                  <a:pt x="1286" y="7874"/>
                </a:lnTo>
                <a:lnTo>
                  <a:pt x="277" y="4790"/>
                </a:lnTo>
                <a:cubicBezTo>
                  <a:pt x="239" y="5144"/>
                  <a:pt x="205" y="5514"/>
                  <a:pt x="174" y="5891"/>
                </a:cubicBezTo>
                <a:lnTo>
                  <a:pt x="1286" y="9285"/>
                </a:lnTo>
                <a:cubicBezTo>
                  <a:pt x="1286" y="9285"/>
                  <a:pt x="3583" y="2264"/>
                  <a:pt x="3583" y="2264"/>
                </a:cubicBezTo>
                <a:cubicBezTo>
                  <a:pt x="3524" y="1964"/>
                  <a:pt x="3462" y="1684"/>
                  <a:pt x="3397" y="1421"/>
                </a:cubicBezTo>
                <a:close/>
                <a:moveTo>
                  <a:pt x="6427" y="2793"/>
                </a:moveTo>
                <a:cubicBezTo>
                  <a:pt x="5648" y="2793"/>
                  <a:pt x="5344" y="5127"/>
                  <a:pt x="5344" y="8979"/>
                </a:cubicBezTo>
                <a:cubicBezTo>
                  <a:pt x="5344" y="12999"/>
                  <a:pt x="5724" y="14870"/>
                  <a:pt x="6383" y="14870"/>
                </a:cubicBezTo>
                <a:cubicBezTo>
                  <a:pt x="6662" y="14870"/>
                  <a:pt x="6932" y="14483"/>
                  <a:pt x="7133" y="13799"/>
                </a:cubicBezTo>
                <a:lnTo>
                  <a:pt x="7064" y="13101"/>
                </a:lnTo>
                <a:cubicBezTo>
                  <a:pt x="6932" y="13451"/>
                  <a:pt x="6772" y="13784"/>
                  <a:pt x="6514" y="13784"/>
                </a:cubicBezTo>
                <a:cubicBezTo>
                  <a:pt x="5971" y="13784"/>
                  <a:pt x="5856" y="11550"/>
                  <a:pt x="5856" y="8548"/>
                </a:cubicBezTo>
                <a:cubicBezTo>
                  <a:pt x="5856" y="5396"/>
                  <a:pt x="5975" y="3559"/>
                  <a:pt x="6442" y="3559"/>
                </a:cubicBezTo>
                <a:cubicBezTo>
                  <a:pt x="6741" y="3559"/>
                  <a:pt x="6837" y="4161"/>
                  <a:pt x="6888" y="5028"/>
                </a:cubicBezTo>
                <a:lnTo>
                  <a:pt x="6926" y="5760"/>
                </a:lnTo>
                <a:lnTo>
                  <a:pt x="7066" y="5760"/>
                </a:lnTo>
                <a:cubicBezTo>
                  <a:pt x="7060" y="4976"/>
                  <a:pt x="7060" y="4110"/>
                  <a:pt x="7066" y="3326"/>
                </a:cubicBezTo>
                <a:cubicBezTo>
                  <a:pt x="7004" y="3193"/>
                  <a:pt x="6772" y="2793"/>
                  <a:pt x="6427" y="2793"/>
                </a:cubicBezTo>
                <a:close/>
                <a:moveTo>
                  <a:pt x="7330" y="2992"/>
                </a:moveTo>
                <a:lnTo>
                  <a:pt x="7330" y="3360"/>
                </a:lnTo>
                <a:cubicBezTo>
                  <a:pt x="7440" y="3493"/>
                  <a:pt x="7456" y="3662"/>
                  <a:pt x="7456" y="4296"/>
                </a:cubicBezTo>
                <a:lnTo>
                  <a:pt x="7456" y="13367"/>
                </a:lnTo>
                <a:cubicBezTo>
                  <a:pt x="7456" y="14001"/>
                  <a:pt x="7440" y="14170"/>
                  <a:pt x="7330" y="14303"/>
                </a:cubicBezTo>
                <a:lnTo>
                  <a:pt x="7330" y="14667"/>
                </a:lnTo>
                <a:lnTo>
                  <a:pt x="8210" y="14667"/>
                </a:lnTo>
                <a:cubicBezTo>
                  <a:pt x="8747" y="14667"/>
                  <a:pt x="9079" y="13899"/>
                  <a:pt x="9079" y="10764"/>
                </a:cubicBezTo>
                <a:cubicBezTo>
                  <a:pt x="9079" y="7545"/>
                  <a:pt x="8652" y="7181"/>
                  <a:pt x="8049" y="7181"/>
                </a:cubicBezTo>
                <a:lnTo>
                  <a:pt x="7927" y="7181"/>
                </a:lnTo>
                <a:lnTo>
                  <a:pt x="7927" y="4412"/>
                </a:lnTo>
                <a:cubicBezTo>
                  <a:pt x="7927" y="3912"/>
                  <a:pt x="7946" y="3728"/>
                  <a:pt x="8084" y="3728"/>
                </a:cubicBezTo>
                <a:cubicBezTo>
                  <a:pt x="8084" y="3728"/>
                  <a:pt x="8385" y="3728"/>
                  <a:pt x="8385" y="3728"/>
                </a:cubicBezTo>
                <a:cubicBezTo>
                  <a:pt x="8671" y="3728"/>
                  <a:pt x="8749" y="3842"/>
                  <a:pt x="8818" y="5042"/>
                </a:cubicBezTo>
                <a:lnTo>
                  <a:pt x="8847" y="5527"/>
                </a:lnTo>
                <a:lnTo>
                  <a:pt x="8966" y="5527"/>
                </a:lnTo>
                <a:cubicBezTo>
                  <a:pt x="8960" y="4677"/>
                  <a:pt x="8960" y="3842"/>
                  <a:pt x="8966" y="2992"/>
                </a:cubicBezTo>
                <a:lnTo>
                  <a:pt x="7330" y="2992"/>
                </a:lnTo>
                <a:close/>
                <a:moveTo>
                  <a:pt x="9327" y="2992"/>
                </a:moveTo>
                <a:lnTo>
                  <a:pt x="9327" y="3360"/>
                </a:lnTo>
                <a:cubicBezTo>
                  <a:pt x="9437" y="3493"/>
                  <a:pt x="9453" y="3662"/>
                  <a:pt x="9453" y="4296"/>
                </a:cubicBezTo>
                <a:lnTo>
                  <a:pt x="9453" y="13367"/>
                </a:lnTo>
                <a:cubicBezTo>
                  <a:pt x="9453" y="14001"/>
                  <a:pt x="9437" y="14170"/>
                  <a:pt x="9327" y="14303"/>
                </a:cubicBezTo>
                <a:lnTo>
                  <a:pt x="9327" y="14667"/>
                </a:lnTo>
                <a:lnTo>
                  <a:pt x="10909" y="14667"/>
                </a:lnTo>
                <a:cubicBezTo>
                  <a:pt x="10903" y="13766"/>
                  <a:pt x="10903" y="12852"/>
                  <a:pt x="10909" y="11952"/>
                </a:cubicBezTo>
                <a:lnTo>
                  <a:pt x="10771" y="11952"/>
                </a:lnTo>
                <a:lnTo>
                  <a:pt x="10752" y="12383"/>
                </a:lnTo>
                <a:cubicBezTo>
                  <a:pt x="10689" y="13834"/>
                  <a:pt x="10614" y="13935"/>
                  <a:pt x="10329" y="13935"/>
                </a:cubicBezTo>
                <a:lnTo>
                  <a:pt x="10266" y="13935"/>
                </a:lnTo>
                <a:cubicBezTo>
                  <a:pt x="9977" y="13935"/>
                  <a:pt x="9924" y="13699"/>
                  <a:pt x="9924" y="12999"/>
                </a:cubicBezTo>
                <a:lnTo>
                  <a:pt x="9924" y="8645"/>
                </a:lnTo>
                <a:lnTo>
                  <a:pt x="10216" y="8645"/>
                </a:lnTo>
                <a:cubicBezTo>
                  <a:pt x="10338" y="8645"/>
                  <a:pt x="10529" y="8715"/>
                  <a:pt x="10604" y="8999"/>
                </a:cubicBezTo>
                <a:lnTo>
                  <a:pt x="10604" y="7530"/>
                </a:lnTo>
                <a:cubicBezTo>
                  <a:pt x="10529" y="7813"/>
                  <a:pt x="10338" y="7879"/>
                  <a:pt x="10216" y="7879"/>
                </a:cubicBezTo>
                <a:lnTo>
                  <a:pt x="9924" y="7879"/>
                </a:lnTo>
                <a:lnTo>
                  <a:pt x="9924" y="4262"/>
                </a:lnTo>
                <a:cubicBezTo>
                  <a:pt x="9924" y="3862"/>
                  <a:pt x="9939" y="3728"/>
                  <a:pt x="10033" y="3728"/>
                </a:cubicBezTo>
                <a:cubicBezTo>
                  <a:pt x="10033" y="3728"/>
                  <a:pt x="10279" y="3728"/>
                  <a:pt x="10279" y="3728"/>
                </a:cubicBezTo>
                <a:cubicBezTo>
                  <a:pt x="10564" y="3728"/>
                  <a:pt x="10642" y="3842"/>
                  <a:pt x="10711" y="5042"/>
                </a:cubicBezTo>
                <a:lnTo>
                  <a:pt x="10739" y="5527"/>
                </a:lnTo>
                <a:lnTo>
                  <a:pt x="10859" y="5527"/>
                </a:lnTo>
                <a:cubicBezTo>
                  <a:pt x="10853" y="4677"/>
                  <a:pt x="10853" y="3842"/>
                  <a:pt x="10859" y="2992"/>
                </a:cubicBezTo>
                <a:lnTo>
                  <a:pt x="9327" y="2992"/>
                </a:lnTo>
                <a:close/>
                <a:moveTo>
                  <a:pt x="11192" y="2992"/>
                </a:moveTo>
                <a:lnTo>
                  <a:pt x="11192" y="3360"/>
                </a:lnTo>
                <a:cubicBezTo>
                  <a:pt x="11302" y="3493"/>
                  <a:pt x="11317" y="3662"/>
                  <a:pt x="11317" y="4296"/>
                </a:cubicBezTo>
                <a:lnTo>
                  <a:pt x="11317" y="13367"/>
                </a:lnTo>
                <a:cubicBezTo>
                  <a:pt x="11317" y="14001"/>
                  <a:pt x="11302" y="14170"/>
                  <a:pt x="11192" y="14303"/>
                </a:cubicBezTo>
                <a:lnTo>
                  <a:pt x="11192" y="14667"/>
                </a:lnTo>
                <a:cubicBezTo>
                  <a:pt x="11192" y="14667"/>
                  <a:pt x="11914" y="14667"/>
                  <a:pt x="11914" y="14667"/>
                </a:cubicBezTo>
                <a:lnTo>
                  <a:pt x="11914" y="14303"/>
                </a:lnTo>
                <a:cubicBezTo>
                  <a:pt x="11804" y="14170"/>
                  <a:pt x="11788" y="14001"/>
                  <a:pt x="11788" y="13367"/>
                </a:cubicBezTo>
                <a:lnTo>
                  <a:pt x="11788" y="10046"/>
                </a:lnTo>
                <a:lnTo>
                  <a:pt x="12008" y="10046"/>
                </a:lnTo>
                <a:cubicBezTo>
                  <a:pt x="12538" y="10046"/>
                  <a:pt x="12865" y="9199"/>
                  <a:pt x="12865" y="6347"/>
                </a:cubicBezTo>
                <a:cubicBezTo>
                  <a:pt x="12865" y="3545"/>
                  <a:pt x="12538" y="2992"/>
                  <a:pt x="12102" y="2992"/>
                </a:cubicBezTo>
                <a:lnTo>
                  <a:pt x="11192" y="2992"/>
                </a:lnTo>
                <a:close/>
                <a:moveTo>
                  <a:pt x="13063" y="2992"/>
                </a:moveTo>
                <a:lnTo>
                  <a:pt x="13063" y="3360"/>
                </a:lnTo>
                <a:cubicBezTo>
                  <a:pt x="13172" y="3493"/>
                  <a:pt x="13188" y="3662"/>
                  <a:pt x="13188" y="4296"/>
                </a:cubicBezTo>
                <a:lnTo>
                  <a:pt x="13188" y="13367"/>
                </a:lnTo>
                <a:cubicBezTo>
                  <a:pt x="13188" y="14001"/>
                  <a:pt x="13172" y="14170"/>
                  <a:pt x="13063" y="14303"/>
                </a:cubicBezTo>
                <a:lnTo>
                  <a:pt x="13063" y="14667"/>
                </a:lnTo>
                <a:lnTo>
                  <a:pt x="13941" y="14667"/>
                </a:lnTo>
                <a:cubicBezTo>
                  <a:pt x="14478" y="14667"/>
                  <a:pt x="14811" y="13899"/>
                  <a:pt x="14811" y="10764"/>
                </a:cubicBezTo>
                <a:cubicBezTo>
                  <a:pt x="14811" y="7545"/>
                  <a:pt x="14384" y="7181"/>
                  <a:pt x="13782" y="7181"/>
                </a:cubicBezTo>
                <a:lnTo>
                  <a:pt x="13658" y="7181"/>
                </a:lnTo>
                <a:lnTo>
                  <a:pt x="13658" y="4412"/>
                </a:lnTo>
                <a:cubicBezTo>
                  <a:pt x="13658" y="3912"/>
                  <a:pt x="13677" y="3728"/>
                  <a:pt x="13815" y="3728"/>
                </a:cubicBezTo>
                <a:cubicBezTo>
                  <a:pt x="13815" y="3728"/>
                  <a:pt x="14117" y="3728"/>
                  <a:pt x="14117" y="3728"/>
                </a:cubicBezTo>
                <a:cubicBezTo>
                  <a:pt x="14403" y="3728"/>
                  <a:pt x="14481" y="3842"/>
                  <a:pt x="14550" y="5042"/>
                </a:cubicBezTo>
                <a:lnTo>
                  <a:pt x="14578" y="5527"/>
                </a:lnTo>
                <a:lnTo>
                  <a:pt x="14698" y="5527"/>
                </a:lnTo>
                <a:cubicBezTo>
                  <a:pt x="14692" y="4677"/>
                  <a:pt x="14692" y="3842"/>
                  <a:pt x="14698" y="2992"/>
                </a:cubicBezTo>
                <a:lnTo>
                  <a:pt x="13063" y="2992"/>
                </a:lnTo>
                <a:close/>
                <a:moveTo>
                  <a:pt x="15564" y="2992"/>
                </a:moveTo>
                <a:lnTo>
                  <a:pt x="15564" y="3360"/>
                </a:lnTo>
                <a:cubicBezTo>
                  <a:pt x="15677" y="3493"/>
                  <a:pt x="15690" y="3810"/>
                  <a:pt x="15690" y="4044"/>
                </a:cubicBezTo>
                <a:cubicBezTo>
                  <a:pt x="15690" y="4377"/>
                  <a:pt x="15674" y="4746"/>
                  <a:pt x="15583" y="5930"/>
                </a:cubicBezTo>
                <a:lnTo>
                  <a:pt x="15178" y="11234"/>
                </a:lnTo>
                <a:cubicBezTo>
                  <a:pt x="15027" y="13185"/>
                  <a:pt x="14927" y="14216"/>
                  <a:pt x="14874" y="14667"/>
                </a:cubicBezTo>
                <a:lnTo>
                  <a:pt x="15273" y="14667"/>
                </a:lnTo>
                <a:cubicBezTo>
                  <a:pt x="15276" y="14400"/>
                  <a:pt x="15294" y="13898"/>
                  <a:pt x="15319" y="13232"/>
                </a:cubicBezTo>
                <a:cubicBezTo>
                  <a:pt x="15347" y="12564"/>
                  <a:pt x="15401" y="11616"/>
                  <a:pt x="15473" y="10448"/>
                </a:cubicBezTo>
                <a:lnTo>
                  <a:pt x="16170" y="10448"/>
                </a:lnTo>
                <a:lnTo>
                  <a:pt x="16265" y="11932"/>
                </a:lnTo>
                <a:cubicBezTo>
                  <a:pt x="16324" y="12866"/>
                  <a:pt x="16393" y="14033"/>
                  <a:pt x="16411" y="14667"/>
                </a:cubicBezTo>
                <a:cubicBezTo>
                  <a:pt x="16411" y="14667"/>
                  <a:pt x="16971" y="14667"/>
                  <a:pt x="16971" y="14667"/>
                </a:cubicBezTo>
                <a:cubicBezTo>
                  <a:pt x="16924" y="14250"/>
                  <a:pt x="16826" y="13082"/>
                  <a:pt x="16735" y="11714"/>
                </a:cubicBezTo>
                <a:lnTo>
                  <a:pt x="16274" y="4727"/>
                </a:lnTo>
                <a:cubicBezTo>
                  <a:pt x="16208" y="3743"/>
                  <a:pt x="16201" y="3342"/>
                  <a:pt x="16192" y="2992"/>
                </a:cubicBezTo>
                <a:lnTo>
                  <a:pt x="15564" y="2992"/>
                </a:lnTo>
                <a:close/>
                <a:moveTo>
                  <a:pt x="17140" y="2992"/>
                </a:moveTo>
                <a:lnTo>
                  <a:pt x="17140" y="3360"/>
                </a:lnTo>
                <a:cubicBezTo>
                  <a:pt x="17250" y="3493"/>
                  <a:pt x="17266" y="3662"/>
                  <a:pt x="17266" y="4296"/>
                </a:cubicBezTo>
                <a:lnTo>
                  <a:pt x="17266" y="13367"/>
                </a:lnTo>
                <a:cubicBezTo>
                  <a:pt x="17266" y="14001"/>
                  <a:pt x="17250" y="14170"/>
                  <a:pt x="17140" y="14303"/>
                </a:cubicBezTo>
                <a:lnTo>
                  <a:pt x="17140" y="14667"/>
                </a:lnTo>
                <a:lnTo>
                  <a:pt x="17861" y="14667"/>
                </a:lnTo>
                <a:lnTo>
                  <a:pt x="17861" y="14303"/>
                </a:lnTo>
                <a:cubicBezTo>
                  <a:pt x="17752" y="14170"/>
                  <a:pt x="17736" y="14001"/>
                  <a:pt x="17736" y="13367"/>
                </a:cubicBezTo>
                <a:lnTo>
                  <a:pt x="17736" y="8645"/>
                </a:lnTo>
                <a:lnTo>
                  <a:pt x="18584" y="8645"/>
                </a:lnTo>
                <a:cubicBezTo>
                  <a:pt x="18584" y="8645"/>
                  <a:pt x="18584" y="13367"/>
                  <a:pt x="18584" y="13367"/>
                </a:cubicBezTo>
                <a:cubicBezTo>
                  <a:pt x="18584" y="14001"/>
                  <a:pt x="18568" y="14170"/>
                  <a:pt x="18458" y="14303"/>
                </a:cubicBezTo>
                <a:lnTo>
                  <a:pt x="18458" y="14667"/>
                </a:lnTo>
                <a:lnTo>
                  <a:pt x="19180" y="14667"/>
                </a:lnTo>
                <a:lnTo>
                  <a:pt x="19180" y="14303"/>
                </a:lnTo>
                <a:cubicBezTo>
                  <a:pt x="19070" y="14170"/>
                  <a:pt x="19055" y="14001"/>
                  <a:pt x="19055" y="13367"/>
                </a:cubicBezTo>
                <a:lnTo>
                  <a:pt x="19055" y="4296"/>
                </a:lnTo>
                <a:cubicBezTo>
                  <a:pt x="19055" y="3662"/>
                  <a:pt x="19070" y="3493"/>
                  <a:pt x="19180" y="3360"/>
                </a:cubicBezTo>
                <a:lnTo>
                  <a:pt x="19180" y="2992"/>
                </a:lnTo>
                <a:lnTo>
                  <a:pt x="18458" y="2992"/>
                </a:lnTo>
                <a:lnTo>
                  <a:pt x="18458" y="3360"/>
                </a:lnTo>
                <a:cubicBezTo>
                  <a:pt x="18568" y="3493"/>
                  <a:pt x="18584" y="3662"/>
                  <a:pt x="18584" y="4296"/>
                </a:cubicBezTo>
                <a:lnTo>
                  <a:pt x="18584" y="7879"/>
                </a:lnTo>
                <a:lnTo>
                  <a:pt x="17736" y="7879"/>
                </a:lnTo>
                <a:lnTo>
                  <a:pt x="17736" y="4296"/>
                </a:lnTo>
                <a:cubicBezTo>
                  <a:pt x="17736" y="3662"/>
                  <a:pt x="17752" y="3493"/>
                  <a:pt x="17861" y="3360"/>
                </a:cubicBezTo>
                <a:lnTo>
                  <a:pt x="17861" y="2992"/>
                </a:lnTo>
                <a:lnTo>
                  <a:pt x="17140" y="2992"/>
                </a:lnTo>
                <a:close/>
                <a:moveTo>
                  <a:pt x="19529" y="2992"/>
                </a:moveTo>
                <a:lnTo>
                  <a:pt x="19529" y="3360"/>
                </a:lnTo>
                <a:cubicBezTo>
                  <a:pt x="19638" y="3493"/>
                  <a:pt x="19655" y="3662"/>
                  <a:pt x="19655" y="4296"/>
                </a:cubicBezTo>
                <a:cubicBezTo>
                  <a:pt x="19655" y="4296"/>
                  <a:pt x="19655" y="13367"/>
                  <a:pt x="19655" y="13367"/>
                </a:cubicBezTo>
                <a:cubicBezTo>
                  <a:pt x="19655" y="14001"/>
                  <a:pt x="19638" y="14170"/>
                  <a:pt x="19529" y="14303"/>
                </a:cubicBezTo>
                <a:lnTo>
                  <a:pt x="19529" y="14667"/>
                </a:lnTo>
                <a:lnTo>
                  <a:pt x="20250" y="14667"/>
                </a:lnTo>
                <a:lnTo>
                  <a:pt x="20250" y="14303"/>
                </a:lnTo>
                <a:cubicBezTo>
                  <a:pt x="20141" y="14170"/>
                  <a:pt x="20125" y="14001"/>
                  <a:pt x="20125" y="13367"/>
                </a:cubicBezTo>
                <a:lnTo>
                  <a:pt x="20125" y="4296"/>
                </a:lnTo>
                <a:cubicBezTo>
                  <a:pt x="20125" y="3662"/>
                  <a:pt x="20141" y="3493"/>
                  <a:pt x="20250" y="3360"/>
                </a:cubicBezTo>
                <a:lnTo>
                  <a:pt x="20250" y="2992"/>
                </a:lnTo>
                <a:lnTo>
                  <a:pt x="19529" y="2992"/>
                </a:lnTo>
                <a:close/>
                <a:moveTo>
                  <a:pt x="20906" y="2992"/>
                </a:moveTo>
                <a:cubicBezTo>
                  <a:pt x="20847" y="3792"/>
                  <a:pt x="20624" y="5376"/>
                  <a:pt x="20451" y="6560"/>
                </a:cubicBezTo>
                <a:lnTo>
                  <a:pt x="20163" y="8548"/>
                </a:lnTo>
                <a:lnTo>
                  <a:pt x="20496" y="11200"/>
                </a:lnTo>
                <a:cubicBezTo>
                  <a:pt x="20725" y="13035"/>
                  <a:pt x="20803" y="14050"/>
                  <a:pt x="20856" y="14667"/>
                </a:cubicBezTo>
                <a:lnTo>
                  <a:pt x="21595" y="14667"/>
                </a:lnTo>
                <a:cubicBezTo>
                  <a:pt x="21334" y="13266"/>
                  <a:pt x="20975" y="10698"/>
                  <a:pt x="20822" y="9547"/>
                </a:cubicBezTo>
                <a:cubicBezTo>
                  <a:pt x="20822" y="9547"/>
                  <a:pt x="20536" y="7394"/>
                  <a:pt x="20536" y="7394"/>
                </a:cubicBezTo>
                <a:lnTo>
                  <a:pt x="20765" y="6095"/>
                </a:lnTo>
                <a:cubicBezTo>
                  <a:pt x="20866" y="5511"/>
                  <a:pt x="21214" y="3645"/>
                  <a:pt x="21421" y="3011"/>
                </a:cubicBezTo>
                <a:lnTo>
                  <a:pt x="21421" y="2992"/>
                </a:lnTo>
                <a:lnTo>
                  <a:pt x="20906" y="2992"/>
                </a:lnTo>
                <a:close/>
                <a:moveTo>
                  <a:pt x="3744" y="3185"/>
                </a:moveTo>
                <a:cubicBezTo>
                  <a:pt x="3744" y="3185"/>
                  <a:pt x="1286" y="10701"/>
                  <a:pt x="1286" y="10701"/>
                </a:cubicBezTo>
                <a:lnTo>
                  <a:pt x="93" y="7055"/>
                </a:lnTo>
                <a:cubicBezTo>
                  <a:pt x="70" y="7458"/>
                  <a:pt x="50" y="7874"/>
                  <a:pt x="36" y="8296"/>
                </a:cubicBezTo>
                <a:lnTo>
                  <a:pt x="1286" y="12112"/>
                </a:lnTo>
                <a:lnTo>
                  <a:pt x="3882" y="4179"/>
                </a:lnTo>
                <a:cubicBezTo>
                  <a:pt x="3839" y="3835"/>
                  <a:pt x="3793" y="3502"/>
                  <a:pt x="3744" y="3185"/>
                </a:cubicBezTo>
                <a:close/>
                <a:moveTo>
                  <a:pt x="11926" y="3728"/>
                </a:moveTo>
                <a:lnTo>
                  <a:pt x="11977" y="3728"/>
                </a:lnTo>
                <a:cubicBezTo>
                  <a:pt x="12272" y="3728"/>
                  <a:pt x="12372" y="4710"/>
                  <a:pt x="12372" y="6245"/>
                </a:cubicBezTo>
                <a:cubicBezTo>
                  <a:pt x="12372" y="8063"/>
                  <a:pt x="12302" y="9314"/>
                  <a:pt x="12010" y="9314"/>
                </a:cubicBezTo>
                <a:cubicBezTo>
                  <a:pt x="12010" y="9314"/>
                  <a:pt x="11788" y="9314"/>
                  <a:pt x="11788" y="9314"/>
                </a:cubicBezTo>
                <a:lnTo>
                  <a:pt x="11788" y="4359"/>
                </a:lnTo>
                <a:cubicBezTo>
                  <a:pt x="11788" y="3808"/>
                  <a:pt x="11832" y="3728"/>
                  <a:pt x="11926" y="3728"/>
                </a:cubicBezTo>
                <a:close/>
                <a:moveTo>
                  <a:pt x="15827" y="4960"/>
                </a:moveTo>
                <a:lnTo>
                  <a:pt x="16123" y="9663"/>
                </a:lnTo>
                <a:cubicBezTo>
                  <a:pt x="16123" y="9663"/>
                  <a:pt x="15524" y="9663"/>
                  <a:pt x="15524" y="9663"/>
                </a:cubicBezTo>
                <a:lnTo>
                  <a:pt x="15827" y="4960"/>
                </a:lnTo>
                <a:close/>
                <a:moveTo>
                  <a:pt x="3999" y="5236"/>
                </a:moveTo>
                <a:lnTo>
                  <a:pt x="1286" y="13527"/>
                </a:lnTo>
                <a:lnTo>
                  <a:pt x="5" y="9615"/>
                </a:lnTo>
                <a:cubicBezTo>
                  <a:pt x="1" y="9862"/>
                  <a:pt x="0" y="10108"/>
                  <a:pt x="0" y="10361"/>
                </a:cubicBezTo>
                <a:cubicBezTo>
                  <a:pt x="0" y="16568"/>
                  <a:pt x="947" y="21600"/>
                  <a:pt x="2115" y="21600"/>
                </a:cubicBezTo>
                <a:cubicBezTo>
                  <a:pt x="3283" y="21600"/>
                  <a:pt x="4230" y="16568"/>
                  <a:pt x="4230" y="10361"/>
                </a:cubicBezTo>
                <a:cubicBezTo>
                  <a:pt x="4230" y="8514"/>
                  <a:pt x="4147" y="6773"/>
                  <a:pt x="3999" y="5236"/>
                </a:cubicBezTo>
                <a:close/>
                <a:moveTo>
                  <a:pt x="7927" y="7913"/>
                </a:moveTo>
                <a:lnTo>
                  <a:pt x="8119" y="7913"/>
                </a:lnTo>
                <a:cubicBezTo>
                  <a:pt x="8489" y="7913"/>
                  <a:pt x="8586" y="8979"/>
                  <a:pt x="8586" y="10880"/>
                </a:cubicBezTo>
                <a:cubicBezTo>
                  <a:pt x="8586" y="12915"/>
                  <a:pt x="8474" y="13935"/>
                  <a:pt x="8188" y="13935"/>
                </a:cubicBezTo>
                <a:cubicBezTo>
                  <a:pt x="8188" y="13935"/>
                  <a:pt x="8121" y="13935"/>
                  <a:pt x="8121" y="13935"/>
                </a:cubicBezTo>
                <a:cubicBezTo>
                  <a:pt x="7964" y="13935"/>
                  <a:pt x="7927" y="13667"/>
                  <a:pt x="7927" y="12916"/>
                </a:cubicBezTo>
                <a:lnTo>
                  <a:pt x="7927" y="7913"/>
                </a:lnTo>
                <a:close/>
                <a:moveTo>
                  <a:pt x="13658" y="7913"/>
                </a:moveTo>
                <a:lnTo>
                  <a:pt x="13850" y="7913"/>
                </a:lnTo>
                <a:cubicBezTo>
                  <a:pt x="14220" y="7913"/>
                  <a:pt x="14318" y="8979"/>
                  <a:pt x="14318" y="10880"/>
                </a:cubicBezTo>
                <a:cubicBezTo>
                  <a:pt x="14318" y="12915"/>
                  <a:pt x="14205" y="13935"/>
                  <a:pt x="13919" y="13935"/>
                </a:cubicBezTo>
                <a:cubicBezTo>
                  <a:pt x="13919" y="13935"/>
                  <a:pt x="13854" y="13935"/>
                  <a:pt x="13854" y="13935"/>
                </a:cubicBezTo>
                <a:cubicBezTo>
                  <a:pt x="13697" y="13935"/>
                  <a:pt x="13658" y="13667"/>
                  <a:pt x="13658" y="12916"/>
                </a:cubicBezTo>
                <a:lnTo>
                  <a:pt x="13658" y="7913"/>
                </a:lnTo>
                <a:close/>
                <a:moveTo>
                  <a:pt x="5519" y="17532"/>
                </a:moveTo>
                <a:lnTo>
                  <a:pt x="5519" y="18701"/>
                </a:lnTo>
                <a:lnTo>
                  <a:pt x="21600" y="18701"/>
                </a:lnTo>
                <a:cubicBezTo>
                  <a:pt x="21600" y="18701"/>
                  <a:pt x="21600" y="17532"/>
                  <a:pt x="21600" y="17532"/>
                </a:cubicBezTo>
                <a:lnTo>
                  <a:pt x="5519" y="17532"/>
                </a:lnTo>
                <a:close/>
              </a:path>
            </a:pathLst>
          </a:custGeom>
          <a:solidFill>
            <a:schemeClr val="bg1"/>
          </a:solidFill>
          <a:ln w="12700">
            <a:miter lim="400000"/>
          </a:ln>
        </p:spPr>
        <p:txBody>
          <a:bodyPr lIns="38100" tIns="38100" rIns="38100" bIns="38100" anchor="ctr"/>
          <a:lstStyle/>
          <a:p>
            <a:pPr defTabSz="914377">
              <a:defRPr sz="3000">
                <a:solidFill>
                  <a:srgbClr val="FFFFFF"/>
                </a:solidFill>
                <a:effectLst>
                  <a:outerShdw blurRad="38100" dist="12700" dir="5400000" rotWithShape="0">
                    <a:srgbClr val="000000">
                      <a:alpha val="50000"/>
                    </a:srgbClr>
                  </a:outerShdw>
                </a:effectLst>
              </a:defRPr>
            </a:pPr>
            <a:endParaRPr sz="4000" dirty="0">
              <a:solidFill>
                <a:srgbClr val="FFFFFF"/>
              </a:solidFill>
              <a:effectLst>
                <a:outerShdw blurRad="38100" dist="12700" dir="5400000" rotWithShape="0">
                  <a:srgbClr val="000000">
                    <a:alpha val="50000"/>
                  </a:srgbClr>
                </a:outerShdw>
              </a:effectLst>
            </a:endParaRPr>
          </a:p>
        </p:txBody>
      </p:sp>
    </p:spTree>
    <p:extLst>
      <p:ext uri="{BB962C8B-B14F-4D97-AF65-F5344CB8AC3E}">
        <p14:creationId xmlns:p14="http://schemas.microsoft.com/office/powerpoint/2010/main" val="15145105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Титул с картинкой под градиентом">
    <p:spTree>
      <p:nvGrpSpPr>
        <p:cNvPr id="1" name=""/>
        <p:cNvGrpSpPr/>
        <p:nvPr/>
      </p:nvGrpSpPr>
      <p:grpSpPr>
        <a:xfrm>
          <a:off x="0" y="0"/>
          <a:ext cx="0" cy="0"/>
          <a:chOff x="0" y="0"/>
          <a:chExt cx="0" cy="0"/>
        </a:xfrm>
      </p:grpSpPr>
      <p:sp>
        <p:nvSpPr>
          <p:cNvPr id="5" name="Rectangle 4"/>
          <p:cNvSpPr/>
          <p:nvPr userDrawn="1"/>
        </p:nvSpPr>
        <p:spPr>
          <a:xfrm rot="10800000">
            <a:off x="-5245" y="0"/>
            <a:ext cx="12197249" cy="6858000"/>
          </a:xfrm>
          <a:prstGeom prst="rect">
            <a:avLst/>
          </a:prstGeom>
          <a:gradFill flip="none" rotWithShape="1">
            <a:gsLst>
              <a:gs pos="6000">
                <a:schemeClr val="accent2">
                  <a:alpha val="70000"/>
                </a:schemeClr>
              </a:gs>
              <a:gs pos="95000">
                <a:schemeClr val="accent6"/>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77"/>
            <a:endParaRPr lang="en-US" sz="1867" dirty="0">
              <a:solidFill>
                <a:srgbClr val="FFFFFF"/>
              </a:solidFill>
            </a:endParaRPr>
          </a:p>
        </p:txBody>
      </p:sp>
      <p:sp>
        <p:nvSpPr>
          <p:cNvPr id="33" name="Title 9"/>
          <p:cNvSpPr>
            <a:spLocks noGrp="1"/>
          </p:cNvSpPr>
          <p:nvPr>
            <p:ph type="title" hasCustomPrompt="1"/>
          </p:nvPr>
        </p:nvSpPr>
        <p:spPr>
          <a:xfrm>
            <a:off x="587378" y="2097092"/>
            <a:ext cx="10188575" cy="701731"/>
          </a:xfrm>
          <a:prstGeom prst="rect">
            <a:avLst/>
          </a:prstGeom>
        </p:spPr>
        <p:txBody>
          <a:bodyPr lIns="68580" tIns="34290" rIns="68580" bIns="34290" anchor="t" anchorCtr="0">
            <a:spAutoFit/>
          </a:bodyPr>
          <a:lstStyle>
            <a:lvl1pPr>
              <a:lnSpc>
                <a:spcPct val="90000"/>
              </a:lnSpc>
              <a:defRPr sz="4400" b="0" i="0" cap="none" baseline="0">
                <a:solidFill>
                  <a:schemeClr val="bg1"/>
                </a:solidFill>
                <a:latin typeface="+mj-lt"/>
                <a:ea typeface="Calibri Light" charset="0"/>
                <a:cs typeface="Calibri Light" charset="0"/>
              </a:defRPr>
            </a:lvl1pPr>
          </a:lstStyle>
          <a:p>
            <a:r>
              <a:rPr lang="ru-RU"/>
              <a:t>Название презентации</a:t>
            </a:r>
            <a:endParaRPr lang="en-US"/>
          </a:p>
        </p:txBody>
      </p:sp>
      <p:sp>
        <p:nvSpPr>
          <p:cNvPr id="4" name="Text Placeholder 3"/>
          <p:cNvSpPr>
            <a:spLocks noGrp="1"/>
          </p:cNvSpPr>
          <p:nvPr>
            <p:ph type="body" sz="quarter" idx="12" hasCustomPrompt="1"/>
          </p:nvPr>
        </p:nvSpPr>
        <p:spPr>
          <a:xfrm>
            <a:off x="587376" y="4344989"/>
            <a:ext cx="7561261" cy="401648"/>
          </a:xfrm>
          <a:prstGeom prst="rect">
            <a:avLst/>
          </a:prstGeom>
        </p:spPr>
        <p:txBody>
          <a:bodyPr lIns="68580" tIns="34290" rIns="68580" bIns="34290">
            <a:spAutoFit/>
          </a:bodyPr>
          <a:lstStyle>
            <a:lvl1pPr>
              <a:defRPr lang="en-US" sz="2400" b="0" i="0" kern="1200" cap="none" baseline="0">
                <a:solidFill>
                  <a:schemeClr val="bg1"/>
                </a:solidFill>
                <a:latin typeface="+mj-lt"/>
                <a:ea typeface="Calibri" charset="0"/>
                <a:cs typeface="Calibri" charset="0"/>
              </a:defRPr>
            </a:lvl1pPr>
            <a:lvl2pPr marL="0" marR="0" indent="0" algn="l" defTabSz="914377" rtl="0" eaLnBrk="1" fontAlgn="auto" latinLnBrk="0" hangingPunct="1">
              <a:lnSpc>
                <a:spcPct val="100000"/>
              </a:lnSpc>
              <a:spcBef>
                <a:spcPct val="0"/>
              </a:spcBef>
              <a:spcAft>
                <a:spcPts val="0"/>
              </a:spcAft>
              <a:buClrTx/>
              <a:buSzTx/>
              <a:buFont typeface="Arial"/>
              <a:buNone/>
              <a:tabLst/>
              <a:defRPr/>
            </a:lvl2pPr>
          </a:lstStyle>
          <a:p>
            <a:pPr lvl="0"/>
            <a:r>
              <a:rPr lang="ru-RU" dirty="0"/>
              <a:t>Дополнительный текст, пояснение, подзаголовок</a:t>
            </a:r>
          </a:p>
        </p:txBody>
      </p:sp>
      <p:sp>
        <p:nvSpPr>
          <p:cNvPr id="7" name="Shape"/>
          <p:cNvSpPr/>
          <p:nvPr userDrawn="1"/>
        </p:nvSpPr>
        <p:spPr>
          <a:xfrm>
            <a:off x="695330" y="692154"/>
            <a:ext cx="1990513" cy="374625"/>
          </a:xfrm>
          <a:custGeom>
            <a:avLst/>
            <a:gdLst/>
            <a:ahLst/>
            <a:cxnLst>
              <a:cxn ang="0">
                <a:pos x="wd2" y="hd2"/>
              </a:cxn>
              <a:cxn ang="5400000">
                <a:pos x="wd2" y="hd2"/>
              </a:cxn>
              <a:cxn ang="10800000">
                <a:pos x="wd2" y="hd2"/>
              </a:cxn>
              <a:cxn ang="16200000">
                <a:pos x="wd2" y="hd2"/>
              </a:cxn>
            </a:cxnLst>
            <a:rect l="0" t="0" r="r" b="b"/>
            <a:pathLst>
              <a:path w="21600" h="21600" extrusionOk="0">
                <a:moveTo>
                  <a:pt x="2936" y="0"/>
                </a:moveTo>
                <a:lnTo>
                  <a:pt x="1286" y="5042"/>
                </a:lnTo>
                <a:lnTo>
                  <a:pt x="551" y="2798"/>
                </a:lnTo>
                <a:cubicBezTo>
                  <a:pt x="499" y="3104"/>
                  <a:pt x="449" y="3428"/>
                  <a:pt x="403" y="3762"/>
                </a:cubicBezTo>
                <a:cubicBezTo>
                  <a:pt x="403" y="3762"/>
                  <a:pt x="1286" y="6458"/>
                  <a:pt x="1286" y="6458"/>
                </a:cubicBezTo>
                <a:lnTo>
                  <a:pt x="3183" y="659"/>
                </a:lnTo>
                <a:cubicBezTo>
                  <a:pt x="3104" y="413"/>
                  <a:pt x="3022" y="191"/>
                  <a:pt x="2936" y="0"/>
                </a:cubicBezTo>
                <a:close/>
                <a:moveTo>
                  <a:pt x="3397" y="1421"/>
                </a:moveTo>
                <a:lnTo>
                  <a:pt x="1286" y="7874"/>
                </a:lnTo>
                <a:lnTo>
                  <a:pt x="277" y="4790"/>
                </a:lnTo>
                <a:cubicBezTo>
                  <a:pt x="239" y="5144"/>
                  <a:pt x="205" y="5514"/>
                  <a:pt x="174" y="5891"/>
                </a:cubicBezTo>
                <a:lnTo>
                  <a:pt x="1286" y="9285"/>
                </a:lnTo>
                <a:cubicBezTo>
                  <a:pt x="1286" y="9285"/>
                  <a:pt x="3583" y="2264"/>
                  <a:pt x="3583" y="2264"/>
                </a:cubicBezTo>
                <a:cubicBezTo>
                  <a:pt x="3524" y="1964"/>
                  <a:pt x="3462" y="1684"/>
                  <a:pt x="3397" y="1421"/>
                </a:cubicBezTo>
                <a:close/>
                <a:moveTo>
                  <a:pt x="6427" y="2793"/>
                </a:moveTo>
                <a:cubicBezTo>
                  <a:pt x="5648" y="2793"/>
                  <a:pt x="5344" y="5127"/>
                  <a:pt x="5344" y="8979"/>
                </a:cubicBezTo>
                <a:cubicBezTo>
                  <a:pt x="5344" y="12999"/>
                  <a:pt x="5724" y="14870"/>
                  <a:pt x="6383" y="14870"/>
                </a:cubicBezTo>
                <a:cubicBezTo>
                  <a:pt x="6662" y="14870"/>
                  <a:pt x="6932" y="14483"/>
                  <a:pt x="7133" y="13799"/>
                </a:cubicBezTo>
                <a:lnTo>
                  <a:pt x="7064" y="13101"/>
                </a:lnTo>
                <a:cubicBezTo>
                  <a:pt x="6932" y="13451"/>
                  <a:pt x="6772" y="13784"/>
                  <a:pt x="6514" y="13784"/>
                </a:cubicBezTo>
                <a:cubicBezTo>
                  <a:pt x="5971" y="13784"/>
                  <a:pt x="5856" y="11550"/>
                  <a:pt x="5856" y="8548"/>
                </a:cubicBezTo>
                <a:cubicBezTo>
                  <a:pt x="5856" y="5396"/>
                  <a:pt x="5975" y="3559"/>
                  <a:pt x="6442" y="3559"/>
                </a:cubicBezTo>
                <a:cubicBezTo>
                  <a:pt x="6741" y="3559"/>
                  <a:pt x="6837" y="4161"/>
                  <a:pt x="6888" y="5028"/>
                </a:cubicBezTo>
                <a:lnTo>
                  <a:pt x="6926" y="5760"/>
                </a:lnTo>
                <a:lnTo>
                  <a:pt x="7066" y="5760"/>
                </a:lnTo>
                <a:cubicBezTo>
                  <a:pt x="7060" y="4976"/>
                  <a:pt x="7060" y="4110"/>
                  <a:pt x="7066" y="3326"/>
                </a:cubicBezTo>
                <a:cubicBezTo>
                  <a:pt x="7004" y="3193"/>
                  <a:pt x="6772" y="2793"/>
                  <a:pt x="6427" y="2793"/>
                </a:cubicBezTo>
                <a:close/>
                <a:moveTo>
                  <a:pt x="7330" y="2992"/>
                </a:moveTo>
                <a:lnTo>
                  <a:pt x="7330" y="3360"/>
                </a:lnTo>
                <a:cubicBezTo>
                  <a:pt x="7440" y="3493"/>
                  <a:pt x="7456" y="3662"/>
                  <a:pt x="7456" y="4296"/>
                </a:cubicBezTo>
                <a:lnTo>
                  <a:pt x="7456" y="13367"/>
                </a:lnTo>
                <a:cubicBezTo>
                  <a:pt x="7456" y="14001"/>
                  <a:pt x="7440" y="14170"/>
                  <a:pt x="7330" y="14303"/>
                </a:cubicBezTo>
                <a:lnTo>
                  <a:pt x="7330" y="14667"/>
                </a:lnTo>
                <a:lnTo>
                  <a:pt x="8210" y="14667"/>
                </a:lnTo>
                <a:cubicBezTo>
                  <a:pt x="8747" y="14667"/>
                  <a:pt x="9079" y="13899"/>
                  <a:pt x="9079" y="10764"/>
                </a:cubicBezTo>
                <a:cubicBezTo>
                  <a:pt x="9079" y="7545"/>
                  <a:pt x="8652" y="7181"/>
                  <a:pt x="8049" y="7181"/>
                </a:cubicBezTo>
                <a:lnTo>
                  <a:pt x="7927" y="7181"/>
                </a:lnTo>
                <a:lnTo>
                  <a:pt x="7927" y="4412"/>
                </a:lnTo>
                <a:cubicBezTo>
                  <a:pt x="7927" y="3912"/>
                  <a:pt x="7946" y="3728"/>
                  <a:pt x="8084" y="3728"/>
                </a:cubicBezTo>
                <a:cubicBezTo>
                  <a:pt x="8084" y="3728"/>
                  <a:pt x="8385" y="3728"/>
                  <a:pt x="8385" y="3728"/>
                </a:cubicBezTo>
                <a:cubicBezTo>
                  <a:pt x="8671" y="3728"/>
                  <a:pt x="8749" y="3842"/>
                  <a:pt x="8818" y="5042"/>
                </a:cubicBezTo>
                <a:lnTo>
                  <a:pt x="8847" y="5527"/>
                </a:lnTo>
                <a:lnTo>
                  <a:pt x="8966" y="5527"/>
                </a:lnTo>
                <a:cubicBezTo>
                  <a:pt x="8960" y="4677"/>
                  <a:pt x="8960" y="3842"/>
                  <a:pt x="8966" y="2992"/>
                </a:cubicBezTo>
                <a:lnTo>
                  <a:pt x="7330" y="2992"/>
                </a:lnTo>
                <a:close/>
                <a:moveTo>
                  <a:pt x="9327" y="2992"/>
                </a:moveTo>
                <a:lnTo>
                  <a:pt x="9327" y="3360"/>
                </a:lnTo>
                <a:cubicBezTo>
                  <a:pt x="9437" y="3493"/>
                  <a:pt x="9453" y="3662"/>
                  <a:pt x="9453" y="4296"/>
                </a:cubicBezTo>
                <a:lnTo>
                  <a:pt x="9453" y="13367"/>
                </a:lnTo>
                <a:cubicBezTo>
                  <a:pt x="9453" y="14001"/>
                  <a:pt x="9437" y="14170"/>
                  <a:pt x="9327" y="14303"/>
                </a:cubicBezTo>
                <a:lnTo>
                  <a:pt x="9327" y="14667"/>
                </a:lnTo>
                <a:lnTo>
                  <a:pt x="10909" y="14667"/>
                </a:lnTo>
                <a:cubicBezTo>
                  <a:pt x="10903" y="13766"/>
                  <a:pt x="10903" y="12852"/>
                  <a:pt x="10909" y="11952"/>
                </a:cubicBezTo>
                <a:lnTo>
                  <a:pt x="10771" y="11952"/>
                </a:lnTo>
                <a:lnTo>
                  <a:pt x="10752" y="12383"/>
                </a:lnTo>
                <a:cubicBezTo>
                  <a:pt x="10689" y="13834"/>
                  <a:pt x="10614" y="13935"/>
                  <a:pt x="10329" y="13935"/>
                </a:cubicBezTo>
                <a:lnTo>
                  <a:pt x="10266" y="13935"/>
                </a:lnTo>
                <a:cubicBezTo>
                  <a:pt x="9977" y="13935"/>
                  <a:pt x="9924" y="13699"/>
                  <a:pt x="9924" y="12999"/>
                </a:cubicBezTo>
                <a:lnTo>
                  <a:pt x="9924" y="8645"/>
                </a:lnTo>
                <a:lnTo>
                  <a:pt x="10216" y="8645"/>
                </a:lnTo>
                <a:cubicBezTo>
                  <a:pt x="10338" y="8645"/>
                  <a:pt x="10529" y="8715"/>
                  <a:pt x="10604" y="8999"/>
                </a:cubicBezTo>
                <a:lnTo>
                  <a:pt x="10604" y="7530"/>
                </a:lnTo>
                <a:cubicBezTo>
                  <a:pt x="10529" y="7813"/>
                  <a:pt x="10338" y="7879"/>
                  <a:pt x="10216" y="7879"/>
                </a:cubicBezTo>
                <a:lnTo>
                  <a:pt x="9924" y="7879"/>
                </a:lnTo>
                <a:lnTo>
                  <a:pt x="9924" y="4262"/>
                </a:lnTo>
                <a:cubicBezTo>
                  <a:pt x="9924" y="3862"/>
                  <a:pt x="9939" y="3728"/>
                  <a:pt x="10033" y="3728"/>
                </a:cubicBezTo>
                <a:cubicBezTo>
                  <a:pt x="10033" y="3728"/>
                  <a:pt x="10279" y="3728"/>
                  <a:pt x="10279" y="3728"/>
                </a:cubicBezTo>
                <a:cubicBezTo>
                  <a:pt x="10564" y="3728"/>
                  <a:pt x="10642" y="3842"/>
                  <a:pt x="10711" y="5042"/>
                </a:cubicBezTo>
                <a:lnTo>
                  <a:pt x="10739" y="5527"/>
                </a:lnTo>
                <a:lnTo>
                  <a:pt x="10859" y="5527"/>
                </a:lnTo>
                <a:cubicBezTo>
                  <a:pt x="10853" y="4677"/>
                  <a:pt x="10853" y="3842"/>
                  <a:pt x="10859" y="2992"/>
                </a:cubicBezTo>
                <a:lnTo>
                  <a:pt x="9327" y="2992"/>
                </a:lnTo>
                <a:close/>
                <a:moveTo>
                  <a:pt x="11192" y="2992"/>
                </a:moveTo>
                <a:lnTo>
                  <a:pt x="11192" y="3360"/>
                </a:lnTo>
                <a:cubicBezTo>
                  <a:pt x="11302" y="3493"/>
                  <a:pt x="11317" y="3662"/>
                  <a:pt x="11317" y="4296"/>
                </a:cubicBezTo>
                <a:lnTo>
                  <a:pt x="11317" y="13367"/>
                </a:lnTo>
                <a:cubicBezTo>
                  <a:pt x="11317" y="14001"/>
                  <a:pt x="11302" y="14170"/>
                  <a:pt x="11192" y="14303"/>
                </a:cubicBezTo>
                <a:lnTo>
                  <a:pt x="11192" y="14667"/>
                </a:lnTo>
                <a:cubicBezTo>
                  <a:pt x="11192" y="14667"/>
                  <a:pt x="11914" y="14667"/>
                  <a:pt x="11914" y="14667"/>
                </a:cubicBezTo>
                <a:lnTo>
                  <a:pt x="11914" y="14303"/>
                </a:lnTo>
                <a:cubicBezTo>
                  <a:pt x="11804" y="14170"/>
                  <a:pt x="11788" y="14001"/>
                  <a:pt x="11788" y="13367"/>
                </a:cubicBezTo>
                <a:lnTo>
                  <a:pt x="11788" y="10046"/>
                </a:lnTo>
                <a:lnTo>
                  <a:pt x="12008" y="10046"/>
                </a:lnTo>
                <a:cubicBezTo>
                  <a:pt x="12538" y="10046"/>
                  <a:pt x="12865" y="9199"/>
                  <a:pt x="12865" y="6347"/>
                </a:cubicBezTo>
                <a:cubicBezTo>
                  <a:pt x="12865" y="3545"/>
                  <a:pt x="12538" y="2992"/>
                  <a:pt x="12102" y="2992"/>
                </a:cubicBezTo>
                <a:lnTo>
                  <a:pt x="11192" y="2992"/>
                </a:lnTo>
                <a:close/>
                <a:moveTo>
                  <a:pt x="13063" y="2992"/>
                </a:moveTo>
                <a:lnTo>
                  <a:pt x="13063" y="3360"/>
                </a:lnTo>
                <a:cubicBezTo>
                  <a:pt x="13172" y="3493"/>
                  <a:pt x="13188" y="3662"/>
                  <a:pt x="13188" y="4296"/>
                </a:cubicBezTo>
                <a:lnTo>
                  <a:pt x="13188" y="13367"/>
                </a:lnTo>
                <a:cubicBezTo>
                  <a:pt x="13188" y="14001"/>
                  <a:pt x="13172" y="14170"/>
                  <a:pt x="13063" y="14303"/>
                </a:cubicBezTo>
                <a:lnTo>
                  <a:pt x="13063" y="14667"/>
                </a:lnTo>
                <a:lnTo>
                  <a:pt x="13941" y="14667"/>
                </a:lnTo>
                <a:cubicBezTo>
                  <a:pt x="14478" y="14667"/>
                  <a:pt x="14811" y="13899"/>
                  <a:pt x="14811" y="10764"/>
                </a:cubicBezTo>
                <a:cubicBezTo>
                  <a:pt x="14811" y="7545"/>
                  <a:pt x="14384" y="7181"/>
                  <a:pt x="13782" y="7181"/>
                </a:cubicBezTo>
                <a:lnTo>
                  <a:pt x="13658" y="7181"/>
                </a:lnTo>
                <a:lnTo>
                  <a:pt x="13658" y="4412"/>
                </a:lnTo>
                <a:cubicBezTo>
                  <a:pt x="13658" y="3912"/>
                  <a:pt x="13677" y="3728"/>
                  <a:pt x="13815" y="3728"/>
                </a:cubicBezTo>
                <a:cubicBezTo>
                  <a:pt x="13815" y="3728"/>
                  <a:pt x="14117" y="3728"/>
                  <a:pt x="14117" y="3728"/>
                </a:cubicBezTo>
                <a:cubicBezTo>
                  <a:pt x="14403" y="3728"/>
                  <a:pt x="14481" y="3842"/>
                  <a:pt x="14550" y="5042"/>
                </a:cubicBezTo>
                <a:lnTo>
                  <a:pt x="14578" y="5527"/>
                </a:lnTo>
                <a:lnTo>
                  <a:pt x="14698" y="5527"/>
                </a:lnTo>
                <a:cubicBezTo>
                  <a:pt x="14692" y="4677"/>
                  <a:pt x="14692" y="3842"/>
                  <a:pt x="14698" y="2992"/>
                </a:cubicBezTo>
                <a:lnTo>
                  <a:pt x="13063" y="2992"/>
                </a:lnTo>
                <a:close/>
                <a:moveTo>
                  <a:pt x="15564" y="2992"/>
                </a:moveTo>
                <a:lnTo>
                  <a:pt x="15564" y="3360"/>
                </a:lnTo>
                <a:cubicBezTo>
                  <a:pt x="15677" y="3493"/>
                  <a:pt x="15690" y="3810"/>
                  <a:pt x="15690" y="4044"/>
                </a:cubicBezTo>
                <a:cubicBezTo>
                  <a:pt x="15690" y="4377"/>
                  <a:pt x="15674" y="4746"/>
                  <a:pt x="15583" y="5930"/>
                </a:cubicBezTo>
                <a:lnTo>
                  <a:pt x="15178" y="11234"/>
                </a:lnTo>
                <a:cubicBezTo>
                  <a:pt x="15027" y="13185"/>
                  <a:pt x="14927" y="14216"/>
                  <a:pt x="14874" y="14667"/>
                </a:cubicBezTo>
                <a:lnTo>
                  <a:pt x="15273" y="14667"/>
                </a:lnTo>
                <a:cubicBezTo>
                  <a:pt x="15276" y="14400"/>
                  <a:pt x="15294" y="13898"/>
                  <a:pt x="15319" y="13232"/>
                </a:cubicBezTo>
                <a:cubicBezTo>
                  <a:pt x="15347" y="12564"/>
                  <a:pt x="15401" y="11616"/>
                  <a:pt x="15473" y="10448"/>
                </a:cubicBezTo>
                <a:lnTo>
                  <a:pt x="16170" y="10448"/>
                </a:lnTo>
                <a:lnTo>
                  <a:pt x="16265" y="11932"/>
                </a:lnTo>
                <a:cubicBezTo>
                  <a:pt x="16324" y="12866"/>
                  <a:pt x="16393" y="14033"/>
                  <a:pt x="16411" y="14667"/>
                </a:cubicBezTo>
                <a:cubicBezTo>
                  <a:pt x="16411" y="14667"/>
                  <a:pt x="16971" y="14667"/>
                  <a:pt x="16971" y="14667"/>
                </a:cubicBezTo>
                <a:cubicBezTo>
                  <a:pt x="16924" y="14250"/>
                  <a:pt x="16826" y="13082"/>
                  <a:pt x="16735" y="11714"/>
                </a:cubicBezTo>
                <a:lnTo>
                  <a:pt x="16274" y="4727"/>
                </a:lnTo>
                <a:cubicBezTo>
                  <a:pt x="16208" y="3743"/>
                  <a:pt x="16201" y="3342"/>
                  <a:pt x="16192" y="2992"/>
                </a:cubicBezTo>
                <a:lnTo>
                  <a:pt x="15564" y="2992"/>
                </a:lnTo>
                <a:close/>
                <a:moveTo>
                  <a:pt x="17140" y="2992"/>
                </a:moveTo>
                <a:lnTo>
                  <a:pt x="17140" y="3360"/>
                </a:lnTo>
                <a:cubicBezTo>
                  <a:pt x="17250" y="3493"/>
                  <a:pt x="17266" y="3662"/>
                  <a:pt x="17266" y="4296"/>
                </a:cubicBezTo>
                <a:lnTo>
                  <a:pt x="17266" y="13367"/>
                </a:lnTo>
                <a:cubicBezTo>
                  <a:pt x="17266" y="14001"/>
                  <a:pt x="17250" y="14170"/>
                  <a:pt x="17140" y="14303"/>
                </a:cubicBezTo>
                <a:lnTo>
                  <a:pt x="17140" y="14667"/>
                </a:lnTo>
                <a:lnTo>
                  <a:pt x="17861" y="14667"/>
                </a:lnTo>
                <a:lnTo>
                  <a:pt x="17861" y="14303"/>
                </a:lnTo>
                <a:cubicBezTo>
                  <a:pt x="17752" y="14170"/>
                  <a:pt x="17736" y="14001"/>
                  <a:pt x="17736" y="13367"/>
                </a:cubicBezTo>
                <a:lnTo>
                  <a:pt x="17736" y="8645"/>
                </a:lnTo>
                <a:lnTo>
                  <a:pt x="18584" y="8645"/>
                </a:lnTo>
                <a:cubicBezTo>
                  <a:pt x="18584" y="8645"/>
                  <a:pt x="18584" y="13367"/>
                  <a:pt x="18584" y="13367"/>
                </a:cubicBezTo>
                <a:cubicBezTo>
                  <a:pt x="18584" y="14001"/>
                  <a:pt x="18568" y="14170"/>
                  <a:pt x="18458" y="14303"/>
                </a:cubicBezTo>
                <a:lnTo>
                  <a:pt x="18458" y="14667"/>
                </a:lnTo>
                <a:lnTo>
                  <a:pt x="19180" y="14667"/>
                </a:lnTo>
                <a:lnTo>
                  <a:pt x="19180" y="14303"/>
                </a:lnTo>
                <a:cubicBezTo>
                  <a:pt x="19070" y="14170"/>
                  <a:pt x="19055" y="14001"/>
                  <a:pt x="19055" y="13367"/>
                </a:cubicBezTo>
                <a:lnTo>
                  <a:pt x="19055" y="4296"/>
                </a:lnTo>
                <a:cubicBezTo>
                  <a:pt x="19055" y="3662"/>
                  <a:pt x="19070" y="3493"/>
                  <a:pt x="19180" y="3360"/>
                </a:cubicBezTo>
                <a:lnTo>
                  <a:pt x="19180" y="2992"/>
                </a:lnTo>
                <a:lnTo>
                  <a:pt x="18458" y="2992"/>
                </a:lnTo>
                <a:lnTo>
                  <a:pt x="18458" y="3360"/>
                </a:lnTo>
                <a:cubicBezTo>
                  <a:pt x="18568" y="3493"/>
                  <a:pt x="18584" y="3662"/>
                  <a:pt x="18584" y="4296"/>
                </a:cubicBezTo>
                <a:lnTo>
                  <a:pt x="18584" y="7879"/>
                </a:lnTo>
                <a:lnTo>
                  <a:pt x="17736" y="7879"/>
                </a:lnTo>
                <a:lnTo>
                  <a:pt x="17736" y="4296"/>
                </a:lnTo>
                <a:cubicBezTo>
                  <a:pt x="17736" y="3662"/>
                  <a:pt x="17752" y="3493"/>
                  <a:pt x="17861" y="3360"/>
                </a:cubicBezTo>
                <a:lnTo>
                  <a:pt x="17861" y="2992"/>
                </a:lnTo>
                <a:lnTo>
                  <a:pt x="17140" y="2992"/>
                </a:lnTo>
                <a:close/>
                <a:moveTo>
                  <a:pt x="19529" y="2992"/>
                </a:moveTo>
                <a:lnTo>
                  <a:pt x="19529" y="3360"/>
                </a:lnTo>
                <a:cubicBezTo>
                  <a:pt x="19638" y="3493"/>
                  <a:pt x="19655" y="3662"/>
                  <a:pt x="19655" y="4296"/>
                </a:cubicBezTo>
                <a:cubicBezTo>
                  <a:pt x="19655" y="4296"/>
                  <a:pt x="19655" y="13367"/>
                  <a:pt x="19655" y="13367"/>
                </a:cubicBezTo>
                <a:cubicBezTo>
                  <a:pt x="19655" y="14001"/>
                  <a:pt x="19638" y="14170"/>
                  <a:pt x="19529" y="14303"/>
                </a:cubicBezTo>
                <a:lnTo>
                  <a:pt x="19529" y="14667"/>
                </a:lnTo>
                <a:lnTo>
                  <a:pt x="20250" y="14667"/>
                </a:lnTo>
                <a:lnTo>
                  <a:pt x="20250" y="14303"/>
                </a:lnTo>
                <a:cubicBezTo>
                  <a:pt x="20141" y="14170"/>
                  <a:pt x="20125" y="14001"/>
                  <a:pt x="20125" y="13367"/>
                </a:cubicBezTo>
                <a:lnTo>
                  <a:pt x="20125" y="4296"/>
                </a:lnTo>
                <a:cubicBezTo>
                  <a:pt x="20125" y="3662"/>
                  <a:pt x="20141" y="3493"/>
                  <a:pt x="20250" y="3360"/>
                </a:cubicBezTo>
                <a:lnTo>
                  <a:pt x="20250" y="2992"/>
                </a:lnTo>
                <a:lnTo>
                  <a:pt x="19529" y="2992"/>
                </a:lnTo>
                <a:close/>
                <a:moveTo>
                  <a:pt x="20906" y="2992"/>
                </a:moveTo>
                <a:cubicBezTo>
                  <a:pt x="20847" y="3792"/>
                  <a:pt x="20624" y="5376"/>
                  <a:pt x="20451" y="6560"/>
                </a:cubicBezTo>
                <a:lnTo>
                  <a:pt x="20163" y="8548"/>
                </a:lnTo>
                <a:lnTo>
                  <a:pt x="20496" y="11200"/>
                </a:lnTo>
                <a:cubicBezTo>
                  <a:pt x="20725" y="13035"/>
                  <a:pt x="20803" y="14050"/>
                  <a:pt x="20856" y="14667"/>
                </a:cubicBezTo>
                <a:lnTo>
                  <a:pt x="21595" y="14667"/>
                </a:lnTo>
                <a:cubicBezTo>
                  <a:pt x="21334" y="13266"/>
                  <a:pt x="20975" y="10698"/>
                  <a:pt x="20822" y="9547"/>
                </a:cubicBezTo>
                <a:cubicBezTo>
                  <a:pt x="20822" y="9547"/>
                  <a:pt x="20536" y="7394"/>
                  <a:pt x="20536" y="7394"/>
                </a:cubicBezTo>
                <a:lnTo>
                  <a:pt x="20765" y="6095"/>
                </a:lnTo>
                <a:cubicBezTo>
                  <a:pt x="20866" y="5511"/>
                  <a:pt x="21214" y="3645"/>
                  <a:pt x="21421" y="3011"/>
                </a:cubicBezTo>
                <a:lnTo>
                  <a:pt x="21421" y="2992"/>
                </a:lnTo>
                <a:lnTo>
                  <a:pt x="20906" y="2992"/>
                </a:lnTo>
                <a:close/>
                <a:moveTo>
                  <a:pt x="3744" y="3185"/>
                </a:moveTo>
                <a:cubicBezTo>
                  <a:pt x="3744" y="3185"/>
                  <a:pt x="1286" y="10701"/>
                  <a:pt x="1286" y="10701"/>
                </a:cubicBezTo>
                <a:lnTo>
                  <a:pt x="93" y="7055"/>
                </a:lnTo>
                <a:cubicBezTo>
                  <a:pt x="70" y="7458"/>
                  <a:pt x="50" y="7874"/>
                  <a:pt x="36" y="8296"/>
                </a:cubicBezTo>
                <a:lnTo>
                  <a:pt x="1286" y="12112"/>
                </a:lnTo>
                <a:lnTo>
                  <a:pt x="3882" y="4179"/>
                </a:lnTo>
                <a:cubicBezTo>
                  <a:pt x="3839" y="3835"/>
                  <a:pt x="3793" y="3502"/>
                  <a:pt x="3744" y="3185"/>
                </a:cubicBezTo>
                <a:close/>
                <a:moveTo>
                  <a:pt x="11926" y="3728"/>
                </a:moveTo>
                <a:lnTo>
                  <a:pt x="11977" y="3728"/>
                </a:lnTo>
                <a:cubicBezTo>
                  <a:pt x="12272" y="3728"/>
                  <a:pt x="12372" y="4710"/>
                  <a:pt x="12372" y="6245"/>
                </a:cubicBezTo>
                <a:cubicBezTo>
                  <a:pt x="12372" y="8063"/>
                  <a:pt x="12302" y="9314"/>
                  <a:pt x="12010" y="9314"/>
                </a:cubicBezTo>
                <a:cubicBezTo>
                  <a:pt x="12010" y="9314"/>
                  <a:pt x="11788" y="9314"/>
                  <a:pt x="11788" y="9314"/>
                </a:cubicBezTo>
                <a:lnTo>
                  <a:pt x="11788" y="4359"/>
                </a:lnTo>
                <a:cubicBezTo>
                  <a:pt x="11788" y="3808"/>
                  <a:pt x="11832" y="3728"/>
                  <a:pt x="11926" y="3728"/>
                </a:cubicBezTo>
                <a:close/>
                <a:moveTo>
                  <a:pt x="15827" y="4960"/>
                </a:moveTo>
                <a:lnTo>
                  <a:pt x="16123" y="9663"/>
                </a:lnTo>
                <a:cubicBezTo>
                  <a:pt x="16123" y="9663"/>
                  <a:pt x="15524" y="9663"/>
                  <a:pt x="15524" y="9663"/>
                </a:cubicBezTo>
                <a:lnTo>
                  <a:pt x="15827" y="4960"/>
                </a:lnTo>
                <a:close/>
                <a:moveTo>
                  <a:pt x="3999" y="5236"/>
                </a:moveTo>
                <a:lnTo>
                  <a:pt x="1286" y="13527"/>
                </a:lnTo>
                <a:lnTo>
                  <a:pt x="5" y="9615"/>
                </a:lnTo>
                <a:cubicBezTo>
                  <a:pt x="1" y="9862"/>
                  <a:pt x="0" y="10108"/>
                  <a:pt x="0" y="10361"/>
                </a:cubicBezTo>
                <a:cubicBezTo>
                  <a:pt x="0" y="16568"/>
                  <a:pt x="947" y="21600"/>
                  <a:pt x="2115" y="21600"/>
                </a:cubicBezTo>
                <a:cubicBezTo>
                  <a:pt x="3283" y="21600"/>
                  <a:pt x="4230" y="16568"/>
                  <a:pt x="4230" y="10361"/>
                </a:cubicBezTo>
                <a:cubicBezTo>
                  <a:pt x="4230" y="8514"/>
                  <a:pt x="4147" y="6773"/>
                  <a:pt x="3999" y="5236"/>
                </a:cubicBezTo>
                <a:close/>
                <a:moveTo>
                  <a:pt x="7927" y="7913"/>
                </a:moveTo>
                <a:lnTo>
                  <a:pt x="8119" y="7913"/>
                </a:lnTo>
                <a:cubicBezTo>
                  <a:pt x="8489" y="7913"/>
                  <a:pt x="8586" y="8979"/>
                  <a:pt x="8586" y="10880"/>
                </a:cubicBezTo>
                <a:cubicBezTo>
                  <a:pt x="8586" y="12915"/>
                  <a:pt x="8474" y="13935"/>
                  <a:pt x="8188" y="13935"/>
                </a:cubicBezTo>
                <a:cubicBezTo>
                  <a:pt x="8188" y="13935"/>
                  <a:pt x="8121" y="13935"/>
                  <a:pt x="8121" y="13935"/>
                </a:cubicBezTo>
                <a:cubicBezTo>
                  <a:pt x="7964" y="13935"/>
                  <a:pt x="7927" y="13667"/>
                  <a:pt x="7927" y="12916"/>
                </a:cubicBezTo>
                <a:lnTo>
                  <a:pt x="7927" y="7913"/>
                </a:lnTo>
                <a:close/>
                <a:moveTo>
                  <a:pt x="13658" y="7913"/>
                </a:moveTo>
                <a:lnTo>
                  <a:pt x="13850" y="7913"/>
                </a:lnTo>
                <a:cubicBezTo>
                  <a:pt x="14220" y="7913"/>
                  <a:pt x="14318" y="8979"/>
                  <a:pt x="14318" y="10880"/>
                </a:cubicBezTo>
                <a:cubicBezTo>
                  <a:pt x="14318" y="12915"/>
                  <a:pt x="14205" y="13935"/>
                  <a:pt x="13919" y="13935"/>
                </a:cubicBezTo>
                <a:cubicBezTo>
                  <a:pt x="13919" y="13935"/>
                  <a:pt x="13854" y="13935"/>
                  <a:pt x="13854" y="13935"/>
                </a:cubicBezTo>
                <a:cubicBezTo>
                  <a:pt x="13697" y="13935"/>
                  <a:pt x="13658" y="13667"/>
                  <a:pt x="13658" y="12916"/>
                </a:cubicBezTo>
                <a:lnTo>
                  <a:pt x="13658" y="7913"/>
                </a:lnTo>
                <a:close/>
                <a:moveTo>
                  <a:pt x="5519" y="17532"/>
                </a:moveTo>
                <a:lnTo>
                  <a:pt x="5519" y="18701"/>
                </a:lnTo>
                <a:lnTo>
                  <a:pt x="21600" y="18701"/>
                </a:lnTo>
                <a:cubicBezTo>
                  <a:pt x="21600" y="18701"/>
                  <a:pt x="21600" y="17532"/>
                  <a:pt x="21600" y="17532"/>
                </a:cubicBezTo>
                <a:lnTo>
                  <a:pt x="5519" y="17532"/>
                </a:lnTo>
                <a:close/>
              </a:path>
            </a:pathLst>
          </a:custGeom>
          <a:solidFill>
            <a:schemeClr val="bg1"/>
          </a:solidFill>
          <a:ln w="12700">
            <a:miter lim="400000"/>
          </a:ln>
        </p:spPr>
        <p:txBody>
          <a:bodyPr lIns="38100" tIns="38100" rIns="38100" bIns="38100" anchor="ctr"/>
          <a:lstStyle/>
          <a:p>
            <a:pPr defTabSz="914377">
              <a:defRPr sz="3000">
                <a:solidFill>
                  <a:srgbClr val="FFFFFF"/>
                </a:solidFill>
                <a:effectLst>
                  <a:outerShdw blurRad="38100" dist="12700" dir="5400000" rotWithShape="0">
                    <a:srgbClr val="000000">
                      <a:alpha val="50000"/>
                    </a:srgbClr>
                  </a:outerShdw>
                </a:effectLst>
              </a:defRPr>
            </a:pPr>
            <a:endParaRPr sz="4000" dirty="0">
              <a:solidFill>
                <a:srgbClr val="FFFFFF"/>
              </a:solidFill>
              <a:effectLst>
                <a:outerShdw blurRad="38100" dist="12700" dir="5400000" rotWithShape="0">
                  <a:srgbClr val="000000">
                    <a:alpha val="50000"/>
                  </a:srgbClr>
                </a:outerShdw>
              </a:effectLst>
            </a:endParaRPr>
          </a:p>
        </p:txBody>
      </p:sp>
      <p:pic>
        <p:nvPicPr>
          <p:cNvPr id="2" name="Рисунок 1" descr="http://05311BFB0B7396CBCF59420FADC09062.dms.sberbank.ru/05311BFB0B7396CBCF59420FADC09062-A3706015402A346BAE2C7E4161CEDD42-AA08E215F1EBA7C368CDE302EC67DC4F/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41575892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1"/>
            </p:custDataLst>
            <p:extLst>
              <p:ext uri="{D42A27DB-BD31-4B8C-83A1-F6EECF244321}">
                <p14:modId xmlns:p14="http://schemas.microsoft.com/office/powerpoint/2010/main" val="3021841772"/>
              </p:ext>
            </p:extLst>
          </p:nvPr>
        </p:nvGraphicFramePr>
        <p:xfrm>
          <a:off x="2034" y="1592"/>
          <a:ext cx="2015" cy="1587"/>
        </p:xfrm>
        <a:graphic>
          <a:graphicData uri="http://schemas.openxmlformats.org/presentationml/2006/ole">
            <mc:AlternateContent xmlns:mc="http://schemas.openxmlformats.org/markup-compatibility/2006">
              <mc:Choice xmlns:v="urn:schemas-microsoft-com:vml" Requires="v">
                <p:oleObj name="Слайд think-cell" r:id="rId3" imgW="360" imgH="360" progId="TCLayout.ActiveDocument.1">
                  <p:embed/>
                </p:oleObj>
              </mc:Choice>
              <mc:Fallback>
                <p:oleObj name="Слайд think-cell" r:id="rId3" imgW="360" imgH="360" progId="TCLayout.ActiveDocument.1">
                  <p:embed/>
                  <p:pic>
                    <p:nvPicPr>
                      <p:cNvPr id="11" name="Objec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34" y="1592"/>
                        <a:ext cx="20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10" descr="SBRF-9129.jp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783245" y="4077091"/>
            <a:ext cx="4408755" cy="2780927"/>
          </a:xfrm>
          <a:prstGeom prst="rect">
            <a:avLst/>
          </a:prstGeom>
        </p:spPr>
      </p:pic>
      <p:sp>
        <p:nvSpPr>
          <p:cNvPr id="2" name="Title 1"/>
          <p:cNvSpPr>
            <a:spLocks noGrp="1"/>
          </p:cNvSpPr>
          <p:nvPr>
            <p:ph type="ctrTitle"/>
          </p:nvPr>
        </p:nvSpPr>
        <p:spPr>
          <a:xfrm>
            <a:off x="1483455" y="2130445"/>
            <a:ext cx="9794161" cy="1470025"/>
          </a:xfrm>
          <a:prstGeom prst="rect">
            <a:avLst/>
          </a:prstGeom>
        </p:spPr>
        <p:txBody>
          <a:bodyPr lIns="91438" tIns="45719" rIns="91438" bIns="45719">
            <a:normAutofit/>
          </a:bodyPr>
          <a:lstStyle>
            <a:lvl1pPr>
              <a:defRPr sz="32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483440" y="3886200"/>
            <a:ext cx="6449725" cy="1752600"/>
          </a:xfrm>
          <a:prstGeom prst="rect">
            <a:avLst/>
          </a:prstGeom>
        </p:spPr>
        <p:txBody>
          <a:bodyPr lIns="91438" tIns="45719" rIns="91438" bIns="45719">
            <a:normAutofit/>
          </a:bodyPr>
          <a:lstStyle>
            <a:lvl1pPr marL="0" indent="0" algn="l">
              <a:buNone/>
              <a:defRPr sz="2267">
                <a:solidFill>
                  <a:schemeClr val="accent3"/>
                </a:solidFill>
              </a:defRPr>
            </a:lvl1pPr>
            <a:lvl2pPr marL="528605" indent="0" algn="ctr">
              <a:buNone/>
              <a:defRPr>
                <a:solidFill>
                  <a:schemeClr val="tx1">
                    <a:tint val="75000"/>
                  </a:schemeClr>
                </a:solidFill>
              </a:defRPr>
            </a:lvl2pPr>
            <a:lvl3pPr marL="1057214" indent="0" algn="ctr">
              <a:buNone/>
              <a:defRPr>
                <a:solidFill>
                  <a:schemeClr val="tx1">
                    <a:tint val="75000"/>
                  </a:schemeClr>
                </a:solidFill>
              </a:defRPr>
            </a:lvl3pPr>
            <a:lvl4pPr marL="1585816" indent="0" algn="ctr">
              <a:buNone/>
              <a:defRPr>
                <a:solidFill>
                  <a:schemeClr val="tx1">
                    <a:tint val="75000"/>
                  </a:schemeClr>
                </a:solidFill>
              </a:defRPr>
            </a:lvl4pPr>
            <a:lvl5pPr marL="2114422" indent="0" algn="ctr">
              <a:buNone/>
              <a:defRPr>
                <a:solidFill>
                  <a:schemeClr val="tx1">
                    <a:tint val="75000"/>
                  </a:schemeClr>
                </a:solidFill>
              </a:defRPr>
            </a:lvl5pPr>
            <a:lvl6pPr marL="2643019" indent="0" algn="ctr">
              <a:buNone/>
              <a:defRPr>
                <a:solidFill>
                  <a:schemeClr val="tx1">
                    <a:tint val="75000"/>
                  </a:schemeClr>
                </a:solidFill>
              </a:defRPr>
            </a:lvl6pPr>
            <a:lvl7pPr marL="3171631" indent="0" algn="ctr">
              <a:buNone/>
              <a:defRPr>
                <a:solidFill>
                  <a:schemeClr val="tx1">
                    <a:tint val="75000"/>
                  </a:schemeClr>
                </a:solidFill>
              </a:defRPr>
            </a:lvl7pPr>
            <a:lvl8pPr marL="3700241" indent="0" algn="ctr">
              <a:buNone/>
              <a:defRPr>
                <a:solidFill>
                  <a:schemeClr val="tx1">
                    <a:tint val="75000"/>
                  </a:schemeClr>
                </a:solidFill>
              </a:defRPr>
            </a:lvl8pPr>
            <a:lvl9pPr marL="4228845" indent="0" algn="ctr">
              <a:buNone/>
              <a:defRPr>
                <a:solidFill>
                  <a:schemeClr val="tx1">
                    <a:tint val="75000"/>
                  </a:schemeClr>
                </a:solidFill>
              </a:defRPr>
            </a:lvl9pPr>
          </a:lstStyle>
          <a:p>
            <a:r>
              <a:rPr lang="en-US" dirty="0"/>
              <a:t>Click to edit Master subtitle style</a:t>
            </a:r>
          </a:p>
        </p:txBody>
      </p:sp>
      <p:sp>
        <p:nvSpPr>
          <p:cNvPr id="4" name="Subnomenclature"/>
          <p:cNvSpPr txBox="1"/>
          <p:nvPr userDrawn="1"/>
        </p:nvSpPr>
        <p:spPr>
          <a:xfrm>
            <a:off x="1146859" y="6406638"/>
            <a:ext cx="65" cy="184666"/>
          </a:xfrm>
          <a:prstGeom prst="rect">
            <a:avLst/>
          </a:prstGeom>
          <a:noFill/>
        </p:spPr>
        <p:txBody>
          <a:bodyPr vert="horz" wrap="none" lIns="0" tIns="0" rIns="0" bIns="0" rtlCol="0" anchor="b">
            <a:spAutoFit/>
          </a:bodyPr>
          <a:lstStyle/>
          <a:p>
            <a:pPr defTabSz="914377">
              <a:spcBef>
                <a:spcPts val="695"/>
              </a:spcBef>
            </a:pPr>
            <a:endParaRPr lang="en-US" sz="1200" b="1" dirty="0">
              <a:solidFill>
                <a:srgbClr val="DC0F00"/>
              </a:solidFill>
            </a:endParaRPr>
          </a:p>
        </p:txBody>
      </p:sp>
      <p:pic>
        <p:nvPicPr>
          <p:cNvPr id="6" name="Picture 3" descr="C:\Users\amosova-pn\Desktop\Информация\Амосовой Полине\Бренд\есть\Логотипы\PI_S1\PI_S1_RGB.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452532" y="326817"/>
            <a:ext cx="3346837" cy="8699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44438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cSld name="9_Title Slide">
    <p:spTree>
      <p:nvGrpSpPr>
        <p:cNvPr id="1" name=""/>
        <p:cNvGrpSpPr/>
        <p:nvPr/>
      </p:nvGrpSpPr>
      <p:grpSpPr>
        <a:xfrm>
          <a:off x="0" y="0"/>
          <a:ext cx="0" cy="0"/>
          <a:chOff x="0" y="0"/>
          <a:chExt cx="0" cy="0"/>
        </a:xfrm>
      </p:grpSpPr>
      <p:cxnSp>
        <p:nvCxnSpPr>
          <p:cNvPr id="10" name="Straight Connector 9"/>
          <p:cNvCxnSpPr/>
          <p:nvPr/>
        </p:nvCxnSpPr>
        <p:spPr>
          <a:xfrm>
            <a:off x="0" y="958177"/>
            <a:ext cx="12192000" cy="0"/>
          </a:xfrm>
          <a:prstGeom prst="line">
            <a:avLst/>
          </a:prstGeom>
          <a:ln>
            <a:solidFill>
              <a:srgbClr val="95C43F"/>
            </a:solidFill>
          </a:ln>
          <a:effectLst/>
        </p:spPr>
        <p:style>
          <a:lnRef idx="2">
            <a:schemeClr val="accent1"/>
          </a:lnRef>
          <a:fillRef idx="0">
            <a:schemeClr val="accent1"/>
          </a:fillRef>
          <a:effectRef idx="1">
            <a:schemeClr val="accent1"/>
          </a:effectRef>
          <a:fontRef idx="minor">
            <a:schemeClr val="tx1"/>
          </a:fontRef>
        </p:style>
      </p:cxnSp>
      <p:sp>
        <p:nvSpPr>
          <p:cNvPr id="4" name="Заголовок 3"/>
          <p:cNvSpPr>
            <a:spLocks noGrp="1"/>
          </p:cNvSpPr>
          <p:nvPr>
            <p:ph type="title"/>
          </p:nvPr>
        </p:nvSpPr>
        <p:spPr>
          <a:xfrm>
            <a:off x="117645" y="97164"/>
            <a:ext cx="8571272" cy="769109"/>
          </a:xfrm>
          <a:prstGeom prst="rect">
            <a:avLst/>
          </a:prstGeom>
        </p:spPr>
        <p:txBody>
          <a:bodyPr lIns="91438" tIns="45719" rIns="91438" bIns="45719"/>
          <a:lstStyle/>
          <a:p>
            <a:r>
              <a:rPr lang="ru-RU"/>
              <a:t>Образец заголовка</a:t>
            </a:r>
          </a:p>
        </p:txBody>
      </p:sp>
      <p:sp>
        <p:nvSpPr>
          <p:cNvPr id="8" name="TextBox 7"/>
          <p:cNvSpPr txBox="1"/>
          <p:nvPr userDrawn="1"/>
        </p:nvSpPr>
        <p:spPr>
          <a:xfrm>
            <a:off x="11472601" y="6453344"/>
            <a:ext cx="719403" cy="410431"/>
          </a:xfrm>
          <a:prstGeom prst="rect">
            <a:avLst/>
          </a:prstGeom>
          <a:noFill/>
        </p:spPr>
        <p:txBody>
          <a:bodyPr wrap="square" lIns="121917" tIns="60959" rIns="121917" bIns="60959" rtlCol="0">
            <a:spAutoFit/>
          </a:bodyPr>
          <a:lstStyle/>
          <a:p>
            <a:pPr defTabSz="1219140"/>
            <a:fld id="{91AD4EB0-CEB3-4892-90AA-400FF97E5AC3}" type="slidenum">
              <a:rPr lang="ru-RU" sz="1867" smtClean="0">
                <a:solidFill>
                  <a:srgbClr val="000000"/>
                </a:solidFill>
                <a:cs typeface="Calibri" panose="020F0502020204030204" pitchFamily="34" charset="0"/>
              </a:rPr>
              <a:pPr defTabSz="1219140"/>
              <a:t>‹#›</a:t>
            </a:fld>
            <a:endParaRPr lang="ru-RU" sz="1867" dirty="0">
              <a:solidFill>
                <a:srgbClr val="000000"/>
              </a:solidFill>
              <a:cs typeface="Calibri" panose="020F0502020204030204" pitchFamily="34" charset="0"/>
            </a:endParaRPr>
          </a:p>
        </p:txBody>
      </p:sp>
      <p:pic>
        <p:nvPicPr>
          <p:cNvPr id="7" name="Picture 7" descr="Screen Shot 2013-12-24 at 12.16.45.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25693" y="163113"/>
            <a:ext cx="2035531" cy="637215"/>
          </a:xfrm>
          <a:prstGeom prst="rect">
            <a:avLst/>
          </a:prstGeom>
        </p:spPr>
      </p:pic>
    </p:spTree>
    <p:extLst>
      <p:ext uri="{BB962C8B-B14F-4D97-AF65-F5344CB8AC3E}">
        <p14:creationId xmlns:p14="http://schemas.microsoft.com/office/powerpoint/2010/main" val="6255048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2 колонки текст + цитата справа">
    <p:spTree>
      <p:nvGrpSpPr>
        <p:cNvPr id="1" name=""/>
        <p:cNvGrpSpPr/>
        <p:nvPr/>
      </p:nvGrpSpPr>
      <p:grpSpPr>
        <a:xfrm>
          <a:off x="0" y="0"/>
          <a:ext cx="0" cy="0"/>
          <a:chOff x="0" y="0"/>
          <a:chExt cx="0" cy="0"/>
        </a:xfrm>
      </p:grpSpPr>
      <p:sp>
        <p:nvSpPr>
          <p:cNvPr id="8" name="Rectangle 7"/>
          <p:cNvSpPr/>
          <p:nvPr userDrawn="1"/>
        </p:nvSpPr>
        <p:spPr>
          <a:xfrm>
            <a:off x="0" y="-9177"/>
            <a:ext cx="12192000" cy="882357"/>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28575" rtlCol="0" anchor="ctr">
            <a:spAutoFit/>
          </a:bodyPr>
          <a:lstStyle/>
          <a:p>
            <a:pPr algn="ctr" defTabSz="736582" hangingPunct="0"/>
            <a:endParaRPr lang="en-US" sz="5067" dirty="0">
              <a:solidFill>
                <a:srgbClr val="FFFFFF"/>
              </a:solidFill>
              <a:effectLst>
                <a:outerShdw blurRad="38100" dist="12700" dir="5400000" rotWithShape="0">
                  <a:srgbClr val="000000">
                    <a:alpha val="50000"/>
                  </a:srgbClr>
                </a:outerShdw>
              </a:effectLst>
              <a:sym typeface="Gill Sans"/>
            </a:endParaRPr>
          </a:p>
        </p:txBody>
      </p:sp>
      <p:sp>
        <p:nvSpPr>
          <p:cNvPr id="4" name="Text Placeholder 3"/>
          <p:cNvSpPr>
            <a:spLocks noGrp="1"/>
          </p:cNvSpPr>
          <p:nvPr>
            <p:ph type="body" sz="quarter" idx="12"/>
          </p:nvPr>
        </p:nvSpPr>
        <p:spPr>
          <a:xfrm>
            <a:off x="8509001" y="783772"/>
            <a:ext cx="3683001" cy="599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1053000" rIns="540000" bIns="34290" rtlCol="0" anchor="t"/>
          <a:lstStyle>
            <a:lvl1pPr marL="227008" indent="0">
              <a:lnSpc>
                <a:spcPct val="100000"/>
              </a:lnSpc>
              <a:spcBef>
                <a:spcPts val="600"/>
              </a:spcBef>
              <a:tabLst/>
              <a:defRPr lang="en-US" sz="2000">
                <a:solidFill>
                  <a:srgbClr val="FFFFFF"/>
                </a:solidFill>
                <a:latin typeface="Calibri Light"/>
                <a:ea typeface="+mn-ea"/>
                <a:cs typeface="+mn-cs"/>
              </a:defRPr>
            </a:lvl1pPr>
          </a:lstStyle>
          <a:p>
            <a:pPr marL="182558" lvl="0"/>
            <a:r>
              <a:rPr lang="en-US"/>
              <a:t>Click to edit Master text styles</a:t>
            </a:r>
          </a:p>
        </p:txBody>
      </p:sp>
      <p:sp>
        <p:nvSpPr>
          <p:cNvPr id="16" name="Title 1"/>
          <p:cNvSpPr>
            <a:spLocks noGrp="1"/>
          </p:cNvSpPr>
          <p:nvPr>
            <p:ph type="title"/>
          </p:nvPr>
        </p:nvSpPr>
        <p:spPr>
          <a:xfrm>
            <a:off x="587375" y="1"/>
            <a:ext cx="7596188" cy="872640"/>
          </a:xfrm>
          <a:prstGeom prst="rect">
            <a:avLst/>
          </a:prstGeom>
        </p:spPr>
        <p:txBody>
          <a:bodyPr lIns="68580" tIns="34290" rIns="68580" bIns="34290"/>
          <a:lstStyle>
            <a:lvl1pPr>
              <a:defRPr>
                <a:latin typeface="+mj-lt"/>
              </a:defRPr>
            </a:lvl1pPr>
          </a:lstStyle>
          <a:p>
            <a:r>
              <a:rPr lang="en-US" dirty="0"/>
              <a:t>Click to edit Master title style</a:t>
            </a:r>
          </a:p>
        </p:txBody>
      </p:sp>
      <p:sp>
        <p:nvSpPr>
          <p:cNvPr id="11" name="Text Placeholder 10"/>
          <p:cNvSpPr>
            <a:spLocks noGrp="1"/>
          </p:cNvSpPr>
          <p:nvPr>
            <p:ph type="body" sz="quarter" idx="14"/>
          </p:nvPr>
        </p:nvSpPr>
        <p:spPr>
          <a:xfrm>
            <a:off x="587377" y="1268413"/>
            <a:ext cx="7596505" cy="814843"/>
          </a:xfrm>
          <a:prstGeom prst="rect">
            <a:avLst/>
          </a:prstGeom>
        </p:spPr>
        <p:txBody>
          <a:bodyPr lIns="68580" tIns="34290" rIns="68580" bIns="34290" numCol="1" spcCol="270000"/>
          <a:lstStyle>
            <a:lvl1pPr>
              <a:lnSpc>
                <a:spcPct val="100000"/>
              </a:lnSpc>
              <a:spcBef>
                <a:spcPts val="600"/>
              </a:spcBef>
              <a:defRPr sz="2000">
                <a:solidFill>
                  <a:schemeClr val="accent5"/>
                </a:solidFill>
                <a:latin typeface="+mj-lt"/>
              </a:defRPr>
            </a:lvl1pPr>
            <a:lvl2pPr>
              <a:defRPr sz="1867">
                <a:latin typeface="+mj-lt"/>
              </a:defRPr>
            </a:lvl2pPr>
            <a:lvl3pPr>
              <a:defRPr sz="1867">
                <a:latin typeface="+mj-lt"/>
              </a:defRPr>
            </a:lvl3pPr>
            <a:lvl4pPr>
              <a:defRPr sz="1867">
                <a:latin typeface="+mj-lt"/>
              </a:defRPr>
            </a:lvl4pPr>
            <a:lvl5pPr>
              <a:defRPr sz="1867">
                <a:latin typeface="+mj-lt"/>
              </a:defRPr>
            </a:lvl5pPr>
          </a:lstStyle>
          <a:p>
            <a:pPr lvl="0"/>
            <a:r>
              <a:rPr lang="en-US"/>
              <a:t>Click to edit Master text styles</a:t>
            </a:r>
          </a:p>
        </p:txBody>
      </p:sp>
      <p:sp>
        <p:nvSpPr>
          <p:cNvPr id="9" name="Picture Placeholder 3"/>
          <p:cNvSpPr>
            <a:spLocks noGrp="1"/>
          </p:cNvSpPr>
          <p:nvPr>
            <p:ph type="pic" sz="quarter" idx="72" hasCustomPrompt="1"/>
          </p:nvPr>
        </p:nvSpPr>
        <p:spPr>
          <a:xfrm>
            <a:off x="8799522" y="1268413"/>
            <a:ext cx="812479" cy="814843"/>
          </a:xfrm>
          <a:prstGeom prst="rect">
            <a:avLst/>
          </a:prstGeom>
        </p:spPr>
        <p:txBody>
          <a:bodyPr lIns="68580" tIns="34290" rIns="68580" bIns="34290" anchor="ctr"/>
          <a:lstStyle>
            <a:lvl1pPr algn="ctr">
              <a:defRPr sz="1467" i="1">
                <a:solidFill>
                  <a:schemeClr val="bg1"/>
                </a:solidFill>
              </a:defRPr>
            </a:lvl1pPr>
          </a:lstStyle>
          <a:p>
            <a:r>
              <a:rPr lang="ru-RU" dirty="0"/>
              <a:t>иконка</a:t>
            </a:r>
            <a:endParaRPr lang="en-US" dirty="0"/>
          </a:p>
        </p:txBody>
      </p:sp>
      <p:sp>
        <p:nvSpPr>
          <p:cNvPr id="3" name="Text Placeholder 2"/>
          <p:cNvSpPr>
            <a:spLocks noGrp="1"/>
          </p:cNvSpPr>
          <p:nvPr>
            <p:ph type="body" sz="quarter" idx="73"/>
          </p:nvPr>
        </p:nvSpPr>
        <p:spPr>
          <a:xfrm>
            <a:off x="587375" y="2827091"/>
            <a:ext cx="7596188" cy="3338760"/>
          </a:xfrm>
          <a:prstGeom prst="rect">
            <a:avLst/>
          </a:prstGeom>
        </p:spPr>
        <p:txBody>
          <a:bodyPr lIns="68580" tIns="34290" rIns="68580" bIns="34290"/>
          <a:lstStyle>
            <a:lvl1pPr marL="177796" indent="-177796">
              <a:spcBef>
                <a:spcPts val="400"/>
              </a:spcBef>
              <a:buFont typeface="Wingdings" charset="2"/>
              <a:buChar char="§"/>
              <a:tabLst/>
              <a:defRPr sz="1600">
                <a:latin typeface="+mj-lt"/>
              </a:defRPr>
            </a:lvl1pPr>
          </a:lstStyle>
          <a:p>
            <a:pPr lvl="0"/>
            <a:r>
              <a:rPr lang="en-US" dirty="0"/>
              <a:t>Click to edit Master text styles</a:t>
            </a:r>
          </a:p>
        </p:txBody>
      </p:sp>
      <p:sp>
        <p:nvSpPr>
          <p:cNvPr id="2" name="Rectangle 1"/>
          <p:cNvSpPr/>
          <p:nvPr userDrawn="1"/>
        </p:nvSpPr>
        <p:spPr>
          <a:xfrm>
            <a:off x="8509001" y="0"/>
            <a:ext cx="3683001" cy="86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77"/>
            <a:endParaRPr lang="en-US" sz="1867" dirty="0">
              <a:solidFill>
                <a:srgbClr val="FFFFFF"/>
              </a:solidFill>
            </a:endParaRPr>
          </a:p>
        </p:txBody>
      </p:sp>
      <p:sp>
        <p:nvSpPr>
          <p:cNvPr id="15" name="Shape"/>
          <p:cNvSpPr/>
          <p:nvPr userDrawn="1"/>
        </p:nvSpPr>
        <p:spPr>
          <a:xfrm>
            <a:off x="9991115" y="286073"/>
            <a:ext cx="1505560" cy="283355"/>
          </a:xfrm>
          <a:custGeom>
            <a:avLst/>
            <a:gdLst/>
            <a:ahLst/>
            <a:cxnLst>
              <a:cxn ang="0">
                <a:pos x="wd2" y="hd2"/>
              </a:cxn>
              <a:cxn ang="5400000">
                <a:pos x="wd2" y="hd2"/>
              </a:cxn>
              <a:cxn ang="10800000">
                <a:pos x="wd2" y="hd2"/>
              </a:cxn>
              <a:cxn ang="16200000">
                <a:pos x="wd2" y="hd2"/>
              </a:cxn>
            </a:cxnLst>
            <a:rect l="0" t="0" r="r" b="b"/>
            <a:pathLst>
              <a:path w="21600" h="21600" extrusionOk="0">
                <a:moveTo>
                  <a:pt x="2936" y="0"/>
                </a:moveTo>
                <a:lnTo>
                  <a:pt x="1286" y="5042"/>
                </a:lnTo>
                <a:lnTo>
                  <a:pt x="551" y="2798"/>
                </a:lnTo>
                <a:cubicBezTo>
                  <a:pt x="499" y="3104"/>
                  <a:pt x="449" y="3428"/>
                  <a:pt x="403" y="3762"/>
                </a:cubicBezTo>
                <a:cubicBezTo>
                  <a:pt x="403" y="3762"/>
                  <a:pt x="1286" y="6458"/>
                  <a:pt x="1286" y="6458"/>
                </a:cubicBezTo>
                <a:lnTo>
                  <a:pt x="3183" y="659"/>
                </a:lnTo>
                <a:cubicBezTo>
                  <a:pt x="3104" y="413"/>
                  <a:pt x="3022" y="191"/>
                  <a:pt x="2936" y="0"/>
                </a:cubicBezTo>
                <a:close/>
                <a:moveTo>
                  <a:pt x="3397" y="1421"/>
                </a:moveTo>
                <a:lnTo>
                  <a:pt x="1286" y="7874"/>
                </a:lnTo>
                <a:lnTo>
                  <a:pt x="277" y="4790"/>
                </a:lnTo>
                <a:cubicBezTo>
                  <a:pt x="239" y="5144"/>
                  <a:pt x="205" y="5514"/>
                  <a:pt x="174" y="5891"/>
                </a:cubicBezTo>
                <a:lnTo>
                  <a:pt x="1286" y="9285"/>
                </a:lnTo>
                <a:cubicBezTo>
                  <a:pt x="1286" y="9285"/>
                  <a:pt x="3583" y="2264"/>
                  <a:pt x="3583" y="2264"/>
                </a:cubicBezTo>
                <a:cubicBezTo>
                  <a:pt x="3524" y="1964"/>
                  <a:pt x="3462" y="1684"/>
                  <a:pt x="3397" y="1421"/>
                </a:cubicBezTo>
                <a:close/>
                <a:moveTo>
                  <a:pt x="6427" y="2793"/>
                </a:moveTo>
                <a:cubicBezTo>
                  <a:pt x="5648" y="2793"/>
                  <a:pt x="5344" y="5127"/>
                  <a:pt x="5344" y="8979"/>
                </a:cubicBezTo>
                <a:cubicBezTo>
                  <a:pt x="5344" y="12999"/>
                  <a:pt x="5724" y="14870"/>
                  <a:pt x="6383" y="14870"/>
                </a:cubicBezTo>
                <a:cubicBezTo>
                  <a:pt x="6662" y="14870"/>
                  <a:pt x="6932" y="14483"/>
                  <a:pt x="7133" y="13799"/>
                </a:cubicBezTo>
                <a:lnTo>
                  <a:pt x="7064" y="13101"/>
                </a:lnTo>
                <a:cubicBezTo>
                  <a:pt x="6932" y="13451"/>
                  <a:pt x="6772" y="13784"/>
                  <a:pt x="6514" y="13784"/>
                </a:cubicBezTo>
                <a:cubicBezTo>
                  <a:pt x="5971" y="13784"/>
                  <a:pt x="5856" y="11550"/>
                  <a:pt x="5856" y="8548"/>
                </a:cubicBezTo>
                <a:cubicBezTo>
                  <a:pt x="5856" y="5396"/>
                  <a:pt x="5975" y="3559"/>
                  <a:pt x="6442" y="3559"/>
                </a:cubicBezTo>
                <a:cubicBezTo>
                  <a:pt x="6741" y="3559"/>
                  <a:pt x="6837" y="4161"/>
                  <a:pt x="6888" y="5028"/>
                </a:cubicBezTo>
                <a:lnTo>
                  <a:pt x="6926" y="5760"/>
                </a:lnTo>
                <a:lnTo>
                  <a:pt x="7066" y="5760"/>
                </a:lnTo>
                <a:cubicBezTo>
                  <a:pt x="7060" y="4976"/>
                  <a:pt x="7060" y="4110"/>
                  <a:pt x="7066" y="3326"/>
                </a:cubicBezTo>
                <a:cubicBezTo>
                  <a:pt x="7004" y="3193"/>
                  <a:pt x="6772" y="2793"/>
                  <a:pt x="6427" y="2793"/>
                </a:cubicBezTo>
                <a:close/>
                <a:moveTo>
                  <a:pt x="7330" y="2992"/>
                </a:moveTo>
                <a:lnTo>
                  <a:pt x="7330" y="3360"/>
                </a:lnTo>
                <a:cubicBezTo>
                  <a:pt x="7440" y="3493"/>
                  <a:pt x="7456" y="3662"/>
                  <a:pt x="7456" y="4296"/>
                </a:cubicBezTo>
                <a:lnTo>
                  <a:pt x="7456" y="13367"/>
                </a:lnTo>
                <a:cubicBezTo>
                  <a:pt x="7456" y="14001"/>
                  <a:pt x="7440" y="14170"/>
                  <a:pt x="7330" y="14303"/>
                </a:cubicBezTo>
                <a:lnTo>
                  <a:pt x="7330" y="14667"/>
                </a:lnTo>
                <a:lnTo>
                  <a:pt x="8210" y="14667"/>
                </a:lnTo>
                <a:cubicBezTo>
                  <a:pt x="8747" y="14667"/>
                  <a:pt x="9079" y="13899"/>
                  <a:pt x="9079" y="10764"/>
                </a:cubicBezTo>
                <a:cubicBezTo>
                  <a:pt x="9079" y="7545"/>
                  <a:pt x="8652" y="7181"/>
                  <a:pt x="8049" y="7181"/>
                </a:cubicBezTo>
                <a:lnTo>
                  <a:pt x="7927" y="7181"/>
                </a:lnTo>
                <a:lnTo>
                  <a:pt x="7927" y="4412"/>
                </a:lnTo>
                <a:cubicBezTo>
                  <a:pt x="7927" y="3912"/>
                  <a:pt x="7946" y="3728"/>
                  <a:pt x="8084" y="3728"/>
                </a:cubicBezTo>
                <a:cubicBezTo>
                  <a:pt x="8084" y="3728"/>
                  <a:pt x="8385" y="3728"/>
                  <a:pt x="8385" y="3728"/>
                </a:cubicBezTo>
                <a:cubicBezTo>
                  <a:pt x="8671" y="3728"/>
                  <a:pt x="8749" y="3842"/>
                  <a:pt x="8818" y="5042"/>
                </a:cubicBezTo>
                <a:lnTo>
                  <a:pt x="8847" y="5527"/>
                </a:lnTo>
                <a:lnTo>
                  <a:pt x="8966" y="5527"/>
                </a:lnTo>
                <a:cubicBezTo>
                  <a:pt x="8960" y="4677"/>
                  <a:pt x="8960" y="3842"/>
                  <a:pt x="8966" y="2992"/>
                </a:cubicBezTo>
                <a:lnTo>
                  <a:pt x="7330" y="2992"/>
                </a:lnTo>
                <a:close/>
                <a:moveTo>
                  <a:pt x="9327" y="2992"/>
                </a:moveTo>
                <a:lnTo>
                  <a:pt x="9327" y="3360"/>
                </a:lnTo>
                <a:cubicBezTo>
                  <a:pt x="9437" y="3493"/>
                  <a:pt x="9453" y="3662"/>
                  <a:pt x="9453" y="4296"/>
                </a:cubicBezTo>
                <a:lnTo>
                  <a:pt x="9453" y="13367"/>
                </a:lnTo>
                <a:cubicBezTo>
                  <a:pt x="9453" y="14001"/>
                  <a:pt x="9437" y="14170"/>
                  <a:pt x="9327" y="14303"/>
                </a:cubicBezTo>
                <a:lnTo>
                  <a:pt x="9327" y="14667"/>
                </a:lnTo>
                <a:lnTo>
                  <a:pt x="10909" y="14667"/>
                </a:lnTo>
                <a:cubicBezTo>
                  <a:pt x="10903" y="13766"/>
                  <a:pt x="10903" y="12852"/>
                  <a:pt x="10909" y="11952"/>
                </a:cubicBezTo>
                <a:lnTo>
                  <a:pt x="10771" y="11952"/>
                </a:lnTo>
                <a:lnTo>
                  <a:pt x="10752" y="12383"/>
                </a:lnTo>
                <a:cubicBezTo>
                  <a:pt x="10689" y="13834"/>
                  <a:pt x="10614" y="13935"/>
                  <a:pt x="10329" y="13935"/>
                </a:cubicBezTo>
                <a:lnTo>
                  <a:pt x="10266" y="13935"/>
                </a:lnTo>
                <a:cubicBezTo>
                  <a:pt x="9977" y="13935"/>
                  <a:pt x="9924" y="13699"/>
                  <a:pt x="9924" y="12999"/>
                </a:cubicBezTo>
                <a:lnTo>
                  <a:pt x="9924" y="8645"/>
                </a:lnTo>
                <a:lnTo>
                  <a:pt x="10216" y="8645"/>
                </a:lnTo>
                <a:cubicBezTo>
                  <a:pt x="10338" y="8645"/>
                  <a:pt x="10529" y="8715"/>
                  <a:pt x="10604" y="8999"/>
                </a:cubicBezTo>
                <a:lnTo>
                  <a:pt x="10604" y="7530"/>
                </a:lnTo>
                <a:cubicBezTo>
                  <a:pt x="10529" y="7813"/>
                  <a:pt x="10338" y="7879"/>
                  <a:pt x="10216" y="7879"/>
                </a:cubicBezTo>
                <a:lnTo>
                  <a:pt x="9924" y="7879"/>
                </a:lnTo>
                <a:lnTo>
                  <a:pt x="9924" y="4262"/>
                </a:lnTo>
                <a:cubicBezTo>
                  <a:pt x="9924" y="3862"/>
                  <a:pt x="9939" y="3728"/>
                  <a:pt x="10033" y="3728"/>
                </a:cubicBezTo>
                <a:cubicBezTo>
                  <a:pt x="10033" y="3728"/>
                  <a:pt x="10279" y="3728"/>
                  <a:pt x="10279" y="3728"/>
                </a:cubicBezTo>
                <a:cubicBezTo>
                  <a:pt x="10564" y="3728"/>
                  <a:pt x="10642" y="3842"/>
                  <a:pt x="10711" y="5042"/>
                </a:cubicBezTo>
                <a:lnTo>
                  <a:pt x="10739" y="5527"/>
                </a:lnTo>
                <a:lnTo>
                  <a:pt x="10859" y="5527"/>
                </a:lnTo>
                <a:cubicBezTo>
                  <a:pt x="10853" y="4677"/>
                  <a:pt x="10853" y="3842"/>
                  <a:pt x="10859" y="2992"/>
                </a:cubicBezTo>
                <a:lnTo>
                  <a:pt x="9327" y="2992"/>
                </a:lnTo>
                <a:close/>
                <a:moveTo>
                  <a:pt x="11192" y="2992"/>
                </a:moveTo>
                <a:lnTo>
                  <a:pt x="11192" y="3360"/>
                </a:lnTo>
                <a:cubicBezTo>
                  <a:pt x="11302" y="3493"/>
                  <a:pt x="11317" y="3662"/>
                  <a:pt x="11317" y="4296"/>
                </a:cubicBezTo>
                <a:lnTo>
                  <a:pt x="11317" y="13367"/>
                </a:lnTo>
                <a:cubicBezTo>
                  <a:pt x="11317" y="14001"/>
                  <a:pt x="11302" y="14170"/>
                  <a:pt x="11192" y="14303"/>
                </a:cubicBezTo>
                <a:lnTo>
                  <a:pt x="11192" y="14667"/>
                </a:lnTo>
                <a:cubicBezTo>
                  <a:pt x="11192" y="14667"/>
                  <a:pt x="11914" y="14667"/>
                  <a:pt x="11914" y="14667"/>
                </a:cubicBezTo>
                <a:lnTo>
                  <a:pt x="11914" y="14303"/>
                </a:lnTo>
                <a:cubicBezTo>
                  <a:pt x="11804" y="14170"/>
                  <a:pt x="11788" y="14001"/>
                  <a:pt x="11788" y="13367"/>
                </a:cubicBezTo>
                <a:lnTo>
                  <a:pt x="11788" y="10046"/>
                </a:lnTo>
                <a:lnTo>
                  <a:pt x="12008" y="10046"/>
                </a:lnTo>
                <a:cubicBezTo>
                  <a:pt x="12538" y="10046"/>
                  <a:pt x="12865" y="9199"/>
                  <a:pt x="12865" y="6347"/>
                </a:cubicBezTo>
                <a:cubicBezTo>
                  <a:pt x="12865" y="3545"/>
                  <a:pt x="12538" y="2992"/>
                  <a:pt x="12102" y="2992"/>
                </a:cubicBezTo>
                <a:lnTo>
                  <a:pt x="11192" y="2992"/>
                </a:lnTo>
                <a:close/>
                <a:moveTo>
                  <a:pt x="13063" y="2992"/>
                </a:moveTo>
                <a:lnTo>
                  <a:pt x="13063" y="3360"/>
                </a:lnTo>
                <a:cubicBezTo>
                  <a:pt x="13172" y="3493"/>
                  <a:pt x="13188" y="3662"/>
                  <a:pt x="13188" y="4296"/>
                </a:cubicBezTo>
                <a:lnTo>
                  <a:pt x="13188" y="13367"/>
                </a:lnTo>
                <a:cubicBezTo>
                  <a:pt x="13188" y="14001"/>
                  <a:pt x="13172" y="14170"/>
                  <a:pt x="13063" y="14303"/>
                </a:cubicBezTo>
                <a:lnTo>
                  <a:pt x="13063" y="14667"/>
                </a:lnTo>
                <a:lnTo>
                  <a:pt x="13941" y="14667"/>
                </a:lnTo>
                <a:cubicBezTo>
                  <a:pt x="14478" y="14667"/>
                  <a:pt x="14811" y="13899"/>
                  <a:pt x="14811" y="10764"/>
                </a:cubicBezTo>
                <a:cubicBezTo>
                  <a:pt x="14811" y="7545"/>
                  <a:pt x="14384" y="7181"/>
                  <a:pt x="13782" y="7181"/>
                </a:cubicBezTo>
                <a:lnTo>
                  <a:pt x="13658" y="7181"/>
                </a:lnTo>
                <a:lnTo>
                  <a:pt x="13658" y="4412"/>
                </a:lnTo>
                <a:cubicBezTo>
                  <a:pt x="13658" y="3912"/>
                  <a:pt x="13677" y="3728"/>
                  <a:pt x="13815" y="3728"/>
                </a:cubicBezTo>
                <a:cubicBezTo>
                  <a:pt x="13815" y="3728"/>
                  <a:pt x="14117" y="3728"/>
                  <a:pt x="14117" y="3728"/>
                </a:cubicBezTo>
                <a:cubicBezTo>
                  <a:pt x="14403" y="3728"/>
                  <a:pt x="14481" y="3842"/>
                  <a:pt x="14550" y="5042"/>
                </a:cubicBezTo>
                <a:lnTo>
                  <a:pt x="14578" y="5527"/>
                </a:lnTo>
                <a:lnTo>
                  <a:pt x="14698" y="5527"/>
                </a:lnTo>
                <a:cubicBezTo>
                  <a:pt x="14692" y="4677"/>
                  <a:pt x="14692" y="3842"/>
                  <a:pt x="14698" y="2992"/>
                </a:cubicBezTo>
                <a:lnTo>
                  <a:pt x="13063" y="2992"/>
                </a:lnTo>
                <a:close/>
                <a:moveTo>
                  <a:pt x="15564" y="2992"/>
                </a:moveTo>
                <a:lnTo>
                  <a:pt x="15564" y="3360"/>
                </a:lnTo>
                <a:cubicBezTo>
                  <a:pt x="15677" y="3493"/>
                  <a:pt x="15690" y="3810"/>
                  <a:pt x="15690" y="4044"/>
                </a:cubicBezTo>
                <a:cubicBezTo>
                  <a:pt x="15690" y="4377"/>
                  <a:pt x="15674" y="4746"/>
                  <a:pt x="15583" y="5930"/>
                </a:cubicBezTo>
                <a:lnTo>
                  <a:pt x="15178" y="11234"/>
                </a:lnTo>
                <a:cubicBezTo>
                  <a:pt x="15027" y="13185"/>
                  <a:pt x="14927" y="14216"/>
                  <a:pt x="14874" y="14667"/>
                </a:cubicBezTo>
                <a:lnTo>
                  <a:pt x="15273" y="14667"/>
                </a:lnTo>
                <a:cubicBezTo>
                  <a:pt x="15276" y="14400"/>
                  <a:pt x="15294" y="13898"/>
                  <a:pt x="15319" y="13232"/>
                </a:cubicBezTo>
                <a:cubicBezTo>
                  <a:pt x="15347" y="12564"/>
                  <a:pt x="15401" y="11616"/>
                  <a:pt x="15473" y="10448"/>
                </a:cubicBezTo>
                <a:lnTo>
                  <a:pt x="16170" y="10448"/>
                </a:lnTo>
                <a:lnTo>
                  <a:pt x="16265" y="11932"/>
                </a:lnTo>
                <a:cubicBezTo>
                  <a:pt x="16324" y="12866"/>
                  <a:pt x="16393" y="14033"/>
                  <a:pt x="16411" y="14667"/>
                </a:cubicBezTo>
                <a:cubicBezTo>
                  <a:pt x="16411" y="14667"/>
                  <a:pt x="16971" y="14667"/>
                  <a:pt x="16971" y="14667"/>
                </a:cubicBezTo>
                <a:cubicBezTo>
                  <a:pt x="16924" y="14250"/>
                  <a:pt x="16826" y="13082"/>
                  <a:pt x="16735" y="11714"/>
                </a:cubicBezTo>
                <a:lnTo>
                  <a:pt x="16274" y="4727"/>
                </a:lnTo>
                <a:cubicBezTo>
                  <a:pt x="16208" y="3743"/>
                  <a:pt x="16201" y="3342"/>
                  <a:pt x="16192" y="2992"/>
                </a:cubicBezTo>
                <a:lnTo>
                  <a:pt x="15564" y="2992"/>
                </a:lnTo>
                <a:close/>
                <a:moveTo>
                  <a:pt x="17140" y="2992"/>
                </a:moveTo>
                <a:lnTo>
                  <a:pt x="17140" y="3360"/>
                </a:lnTo>
                <a:cubicBezTo>
                  <a:pt x="17250" y="3493"/>
                  <a:pt x="17266" y="3662"/>
                  <a:pt x="17266" y="4296"/>
                </a:cubicBezTo>
                <a:lnTo>
                  <a:pt x="17266" y="13367"/>
                </a:lnTo>
                <a:cubicBezTo>
                  <a:pt x="17266" y="14001"/>
                  <a:pt x="17250" y="14170"/>
                  <a:pt x="17140" y="14303"/>
                </a:cubicBezTo>
                <a:lnTo>
                  <a:pt x="17140" y="14667"/>
                </a:lnTo>
                <a:lnTo>
                  <a:pt x="17861" y="14667"/>
                </a:lnTo>
                <a:lnTo>
                  <a:pt x="17861" y="14303"/>
                </a:lnTo>
                <a:cubicBezTo>
                  <a:pt x="17752" y="14170"/>
                  <a:pt x="17736" y="14001"/>
                  <a:pt x="17736" y="13367"/>
                </a:cubicBezTo>
                <a:lnTo>
                  <a:pt x="17736" y="8645"/>
                </a:lnTo>
                <a:lnTo>
                  <a:pt x="18584" y="8645"/>
                </a:lnTo>
                <a:cubicBezTo>
                  <a:pt x="18584" y="8645"/>
                  <a:pt x="18584" y="13367"/>
                  <a:pt x="18584" y="13367"/>
                </a:cubicBezTo>
                <a:cubicBezTo>
                  <a:pt x="18584" y="14001"/>
                  <a:pt x="18568" y="14170"/>
                  <a:pt x="18458" y="14303"/>
                </a:cubicBezTo>
                <a:lnTo>
                  <a:pt x="18458" y="14667"/>
                </a:lnTo>
                <a:lnTo>
                  <a:pt x="19180" y="14667"/>
                </a:lnTo>
                <a:lnTo>
                  <a:pt x="19180" y="14303"/>
                </a:lnTo>
                <a:cubicBezTo>
                  <a:pt x="19070" y="14170"/>
                  <a:pt x="19055" y="14001"/>
                  <a:pt x="19055" y="13367"/>
                </a:cubicBezTo>
                <a:lnTo>
                  <a:pt x="19055" y="4296"/>
                </a:lnTo>
                <a:cubicBezTo>
                  <a:pt x="19055" y="3662"/>
                  <a:pt x="19070" y="3493"/>
                  <a:pt x="19180" y="3360"/>
                </a:cubicBezTo>
                <a:lnTo>
                  <a:pt x="19180" y="2992"/>
                </a:lnTo>
                <a:lnTo>
                  <a:pt x="18458" y="2992"/>
                </a:lnTo>
                <a:lnTo>
                  <a:pt x="18458" y="3360"/>
                </a:lnTo>
                <a:cubicBezTo>
                  <a:pt x="18568" y="3493"/>
                  <a:pt x="18584" y="3662"/>
                  <a:pt x="18584" y="4296"/>
                </a:cubicBezTo>
                <a:lnTo>
                  <a:pt x="18584" y="7879"/>
                </a:lnTo>
                <a:lnTo>
                  <a:pt x="17736" y="7879"/>
                </a:lnTo>
                <a:lnTo>
                  <a:pt x="17736" y="4296"/>
                </a:lnTo>
                <a:cubicBezTo>
                  <a:pt x="17736" y="3662"/>
                  <a:pt x="17752" y="3493"/>
                  <a:pt x="17861" y="3360"/>
                </a:cubicBezTo>
                <a:lnTo>
                  <a:pt x="17861" y="2992"/>
                </a:lnTo>
                <a:lnTo>
                  <a:pt x="17140" y="2992"/>
                </a:lnTo>
                <a:close/>
                <a:moveTo>
                  <a:pt x="19529" y="2992"/>
                </a:moveTo>
                <a:lnTo>
                  <a:pt x="19529" y="3360"/>
                </a:lnTo>
                <a:cubicBezTo>
                  <a:pt x="19638" y="3493"/>
                  <a:pt x="19655" y="3662"/>
                  <a:pt x="19655" y="4296"/>
                </a:cubicBezTo>
                <a:cubicBezTo>
                  <a:pt x="19655" y="4296"/>
                  <a:pt x="19655" y="13367"/>
                  <a:pt x="19655" y="13367"/>
                </a:cubicBezTo>
                <a:cubicBezTo>
                  <a:pt x="19655" y="14001"/>
                  <a:pt x="19638" y="14170"/>
                  <a:pt x="19529" y="14303"/>
                </a:cubicBezTo>
                <a:lnTo>
                  <a:pt x="19529" y="14667"/>
                </a:lnTo>
                <a:lnTo>
                  <a:pt x="20250" y="14667"/>
                </a:lnTo>
                <a:lnTo>
                  <a:pt x="20250" y="14303"/>
                </a:lnTo>
                <a:cubicBezTo>
                  <a:pt x="20141" y="14170"/>
                  <a:pt x="20125" y="14001"/>
                  <a:pt x="20125" y="13367"/>
                </a:cubicBezTo>
                <a:lnTo>
                  <a:pt x="20125" y="4296"/>
                </a:lnTo>
                <a:cubicBezTo>
                  <a:pt x="20125" y="3662"/>
                  <a:pt x="20141" y="3493"/>
                  <a:pt x="20250" y="3360"/>
                </a:cubicBezTo>
                <a:lnTo>
                  <a:pt x="20250" y="2992"/>
                </a:lnTo>
                <a:lnTo>
                  <a:pt x="19529" y="2992"/>
                </a:lnTo>
                <a:close/>
                <a:moveTo>
                  <a:pt x="20906" y="2992"/>
                </a:moveTo>
                <a:cubicBezTo>
                  <a:pt x="20847" y="3792"/>
                  <a:pt x="20624" y="5376"/>
                  <a:pt x="20451" y="6560"/>
                </a:cubicBezTo>
                <a:lnTo>
                  <a:pt x="20163" y="8548"/>
                </a:lnTo>
                <a:lnTo>
                  <a:pt x="20496" y="11200"/>
                </a:lnTo>
                <a:cubicBezTo>
                  <a:pt x="20725" y="13035"/>
                  <a:pt x="20803" y="14050"/>
                  <a:pt x="20856" y="14667"/>
                </a:cubicBezTo>
                <a:lnTo>
                  <a:pt x="21595" y="14667"/>
                </a:lnTo>
                <a:cubicBezTo>
                  <a:pt x="21334" y="13266"/>
                  <a:pt x="20975" y="10698"/>
                  <a:pt x="20822" y="9547"/>
                </a:cubicBezTo>
                <a:cubicBezTo>
                  <a:pt x="20822" y="9547"/>
                  <a:pt x="20536" y="7394"/>
                  <a:pt x="20536" y="7394"/>
                </a:cubicBezTo>
                <a:lnTo>
                  <a:pt x="20765" y="6095"/>
                </a:lnTo>
                <a:cubicBezTo>
                  <a:pt x="20866" y="5511"/>
                  <a:pt x="21214" y="3645"/>
                  <a:pt x="21421" y="3011"/>
                </a:cubicBezTo>
                <a:lnTo>
                  <a:pt x="21421" y="2992"/>
                </a:lnTo>
                <a:lnTo>
                  <a:pt x="20906" y="2992"/>
                </a:lnTo>
                <a:close/>
                <a:moveTo>
                  <a:pt x="3744" y="3185"/>
                </a:moveTo>
                <a:cubicBezTo>
                  <a:pt x="3744" y="3185"/>
                  <a:pt x="1286" y="10701"/>
                  <a:pt x="1286" y="10701"/>
                </a:cubicBezTo>
                <a:lnTo>
                  <a:pt x="93" y="7055"/>
                </a:lnTo>
                <a:cubicBezTo>
                  <a:pt x="70" y="7458"/>
                  <a:pt x="50" y="7874"/>
                  <a:pt x="36" y="8296"/>
                </a:cubicBezTo>
                <a:lnTo>
                  <a:pt x="1286" y="12112"/>
                </a:lnTo>
                <a:lnTo>
                  <a:pt x="3882" y="4179"/>
                </a:lnTo>
                <a:cubicBezTo>
                  <a:pt x="3839" y="3835"/>
                  <a:pt x="3793" y="3502"/>
                  <a:pt x="3744" y="3185"/>
                </a:cubicBezTo>
                <a:close/>
                <a:moveTo>
                  <a:pt x="11926" y="3728"/>
                </a:moveTo>
                <a:lnTo>
                  <a:pt x="11977" y="3728"/>
                </a:lnTo>
                <a:cubicBezTo>
                  <a:pt x="12272" y="3728"/>
                  <a:pt x="12372" y="4710"/>
                  <a:pt x="12372" y="6245"/>
                </a:cubicBezTo>
                <a:cubicBezTo>
                  <a:pt x="12372" y="8063"/>
                  <a:pt x="12302" y="9314"/>
                  <a:pt x="12010" y="9314"/>
                </a:cubicBezTo>
                <a:cubicBezTo>
                  <a:pt x="12010" y="9314"/>
                  <a:pt x="11788" y="9314"/>
                  <a:pt x="11788" y="9314"/>
                </a:cubicBezTo>
                <a:lnTo>
                  <a:pt x="11788" y="4359"/>
                </a:lnTo>
                <a:cubicBezTo>
                  <a:pt x="11788" y="3808"/>
                  <a:pt x="11832" y="3728"/>
                  <a:pt x="11926" y="3728"/>
                </a:cubicBezTo>
                <a:close/>
                <a:moveTo>
                  <a:pt x="15827" y="4960"/>
                </a:moveTo>
                <a:lnTo>
                  <a:pt x="16123" y="9663"/>
                </a:lnTo>
                <a:cubicBezTo>
                  <a:pt x="16123" y="9663"/>
                  <a:pt x="15524" y="9663"/>
                  <a:pt x="15524" y="9663"/>
                </a:cubicBezTo>
                <a:lnTo>
                  <a:pt x="15827" y="4960"/>
                </a:lnTo>
                <a:close/>
                <a:moveTo>
                  <a:pt x="3999" y="5236"/>
                </a:moveTo>
                <a:lnTo>
                  <a:pt x="1286" y="13527"/>
                </a:lnTo>
                <a:lnTo>
                  <a:pt x="5" y="9615"/>
                </a:lnTo>
                <a:cubicBezTo>
                  <a:pt x="1" y="9862"/>
                  <a:pt x="0" y="10108"/>
                  <a:pt x="0" y="10361"/>
                </a:cubicBezTo>
                <a:cubicBezTo>
                  <a:pt x="0" y="16568"/>
                  <a:pt x="947" y="21600"/>
                  <a:pt x="2115" y="21600"/>
                </a:cubicBezTo>
                <a:cubicBezTo>
                  <a:pt x="3283" y="21600"/>
                  <a:pt x="4230" y="16568"/>
                  <a:pt x="4230" y="10361"/>
                </a:cubicBezTo>
                <a:cubicBezTo>
                  <a:pt x="4230" y="8514"/>
                  <a:pt x="4147" y="6773"/>
                  <a:pt x="3999" y="5236"/>
                </a:cubicBezTo>
                <a:close/>
                <a:moveTo>
                  <a:pt x="7927" y="7913"/>
                </a:moveTo>
                <a:lnTo>
                  <a:pt x="8119" y="7913"/>
                </a:lnTo>
                <a:cubicBezTo>
                  <a:pt x="8489" y="7913"/>
                  <a:pt x="8586" y="8979"/>
                  <a:pt x="8586" y="10880"/>
                </a:cubicBezTo>
                <a:cubicBezTo>
                  <a:pt x="8586" y="12915"/>
                  <a:pt x="8474" y="13935"/>
                  <a:pt x="8188" y="13935"/>
                </a:cubicBezTo>
                <a:cubicBezTo>
                  <a:pt x="8188" y="13935"/>
                  <a:pt x="8121" y="13935"/>
                  <a:pt x="8121" y="13935"/>
                </a:cubicBezTo>
                <a:cubicBezTo>
                  <a:pt x="7964" y="13935"/>
                  <a:pt x="7927" y="13667"/>
                  <a:pt x="7927" y="12916"/>
                </a:cubicBezTo>
                <a:lnTo>
                  <a:pt x="7927" y="7913"/>
                </a:lnTo>
                <a:close/>
                <a:moveTo>
                  <a:pt x="13658" y="7913"/>
                </a:moveTo>
                <a:lnTo>
                  <a:pt x="13850" y="7913"/>
                </a:lnTo>
                <a:cubicBezTo>
                  <a:pt x="14220" y="7913"/>
                  <a:pt x="14318" y="8979"/>
                  <a:pt x="14318" y="10880"/>
                </a:cubicBezTo>
                <a:cubicBezTo>
                  <a:pt x="14318" y="12915"/>
                  <a:pt x="14205" y="13935"/>
                  <a:pt x="13919" y="13935"/>
                </a:cubicBezTo>
                <a:cubicBezTo>
                  <a:pt x="13919" y="13935"/>
                  <a:pt x="13854" y="13935"/>
                  <a:pt x="13854" y="13935"/>
                </a:cubicBezTo>
                <a:cubicBezTo>
                  <a:pt x="13697" y="13935"/>
                  <a:pt x="13658" y="13667"/>
                  <a:pt x="13658" y="12916"/>
                </a:cubicBezTo>
                <a:lnTo>
                  <a:pt x="13658" y="7913"/>
                </a:lnTo>
                <a:close/>
                <a:moveTo>
                  <a:pt x="5519" y="17532"/>
                </a:moveTo>
                <a:lnTo>
                  <a:pt x="5519" y="18701"/>
                </a:lnTo>
                <a:lnTo>
                  <a:pt x="21600" y="18701"/>
                </a:lnTo>
                <a:cubicBezTo>
                  <a:pt x="21600" y="18701"/>
                  <a:pt x="21600" y="17532"/>
                  <a:pt x="21600" y="17532"/>
                </a:cubicBezTo>
                <a:lnTo>
                  <a:pt x="5519" y="17532"/>
                </a:lnTo>
                <a:close/>
              </a:path>
            </a:pathLst>
          </a:custGeom>
          <a:solidFill>
            <a:schemeClr val="bg1"/>
          </a:solidFill>
          <a:ln w="12700">
            <a:miter lim="400000"/>
          </a:ln>
        </p:spPr>
        <p:txBody>
          <a:bodyPr lIns="38100" tIns="38100" rIns="38100" bIns="38100" anchor="ctr"/>
          <a:lstStyle/>
          <a:p>
            <a:pPr defTabSz="914377">
              <a:defRPr sz="3000">
                <a:solidFill>
                  <a:srgbClr val="FFFFFF"/>
                </a:solidFill>
                <a:effectLst>
                  <a:outerShdw blurRad="38100" dist="12700" dir="5400000" rotWithShape="0">
                    <a:srgbClr val="000000">
                      <a:alpha val="50000"/>
                    </a:srgbClr>
                  </a:outerShdw>
                </a:effectLst>
              </a:defRPr>
            </a:pPr>
            <a:endParaRPr sz="4000" dirty="0">
              <a:solidFill>
                <a:srgbClr val="FFFFFF"/>
              </a:solidFill>
              <a:effectLst>
                <a:outerShdw blurRad="38100" dist="12700" dir="5400000" rotWithShape="0">
                  <a:srgbClr val="000000">
                    <a:alpha val="50000"/>
                  </a:srgbClr>
                </a:outerShdw>
              </a:effectLst>
            </a:endParaRPr>
          </a:p>
        </p:txBody>
      </p:sp>
    </p:spTree>
    <p:extLst>
      <p:ext uri="{BB962C8B-B14F-4D97-AF65-F5344CB8AC3E}">
        <p14:creationId xmlns:p14="http://schemas.microsoft.com/office/powerpoint/2010/main" val="41084175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pic>
        <p:nvPicPr>
          <p:cNvPr id="8" name="Рисунок 7" descr="http://5A9FAA11343EC11A72E306E41DBDD243.dms.sberbank.ru/5A9FAA11343EC11A72E306E41DBDD243-A3706015402A346BAE2C7E4161CEDD42-402F2720EE24403459B26CFD8111A0E2/1.png"/>
          <p:cNvPicPr>
            <a:picLocks/>
          </p:cNvPicPr>
          <p:nvPr userDrawn="1"/>
        </p:nvPicPr>
        <p:blipFill>
          <a:blip r:link="rId2"/>
          <a:stretch>
            <a:fillRect/>
          </a:stretch>
        </p:blipFill>
        <p:spPr>
          <a:xfrm>
            <a:off x="0" y="0"/>
            <a:ext cx="1588" cy="1588"/>
          </a:xfrm>
          <a:prstGeom prst="rect">
            <a:avLst/>
          </a:prstGeom>
        </p:spPr>
      </p:pic>
      <p:pic>
        <p:nvPicPr>
          <p:cNvPr id="9" name="Рисунок 8" descr="http://5A9FAA11343EC11A72E306E41DBDD243.dms.sberbank.ru/5A9FAA11343EC11A72E306E41DBDD243-A3706015402A346BAE2C7E4161CEDD42-A43DBAE14D4A7BB44B4C51921CE89AF5/1.png"/>
          <p:cNvPicPr>
            <a:picLocks/>
          </p:cNvPicPr>
          <p:nvPr userDrawn="1"/>
        </p:nvPicPr>
        <p:blipFill>
          <a:blip r:link="rId3"/>
          <a:stretch>
            <a:fillRect/>
          </a:stretch>
        </p:blipFill>
        <p:spPr>
          <a:xfrm>
            <a:off x="0" y="0"/>
            <a:ext cx="1588" cy="1588"/>
          </a:xfrm>
          <a:prstGeom prst="rect">
            <a:avLst/>
          </a:prstGeom>
        </p:spPr>
      </p:pic>
    </p:spTree>
    <p:extLst>
      <p:ext uri="{BB962C8B-B14F-4D97-AF65-F5344CB8AC3E}">
        <p14:creationId xmlns:p14="http://schemas.microsoft.com/office/powerpoint/2010/main" val="2291325280"/>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pic>
        <p:nvPicPr>
          <p:cNvPr id="31" name="Рисунок 30" descr="http://5A9FAA11343EC11A72E306E41DBDD243.dms.sberbank.ru/5A9FAA11343EC11A72E306E41DBDD243-A3706015402A346BAE2C7E4161CEDD42-78B027483C7D8D513BF49F01B3104E69/1.png"/>
          <p:cNvPicPr>
            <a:picLocks/>
          </p:cNvPicPr>
          <p:nvPr userDrawn="1"/>
        </p:nvPicPr>
        <p:blipFill>
          <a:blip r:link="rId2"/>
          <a:stretch>
            <a:fillRect/>
          </a:stretch>
        </p:blipFill>
        <p:spPr>
          <a:xfrm>
            <a:off x="0" y="0"/>
            <a:ext cx="1588" cy="1588"/>
          </a:xfrm>
          <a:prstGeom prst="rect">
            <a:avLst/>
          </a:prstGeom>
        </p:spPr>
      </p:pic>
      <p:pic>
        <p:nvPicPr>
          <p:cNvPr id="32" name="Рисунок 31" descr="http://5A9FAA11343EC11A72E306E41DBDD243.dms.sberbank.ru/5A9FAA11343EC11A72E306E41DBDD243-A3706015402A346BAE2C7E4161CEDD42-78B027483C7D8D513BF49F01B3104E69/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3575296075"/>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4014921039"/>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1348538792"/>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257548" y="6126266"/>
            <a:ext cx="521496" cy="365125"/>
          </a:xfrm>
          <a:prstGeom prst="rect">
            <a:avLst/>
          </a:prstGeom>
        </p:spPr>
        <p:txBody>
          <a:bodyPr/>
          <a:lstStyle/>
          <a:p>
            <a:fld id="{054C8753-49EE-4AA4-B7F7-004F2534EA1E}" type="slidenum">
              <a:rPr lang="ru-RU" smtClean="0"/>
              <a:pPr/>
              <a:t>‹#›</a:t>
            </a:fld>
            <a:endParaRPr lang="ru-RU" dirty="0"/>
          </a:p>
        </p:txBody>
      </p:sp>
    </p:spTree>
    <p:extLst>
      <p:ext uri="{BB962C8B-B14F-4D97-AF65-F5344CB8AC3E}">
        <p14:creationId xmlns:p14="http://schemas.microsoft.com/office/powerpoint/2010/main" val="39611396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ru-RU"/>
              <a:t>Образец заголовка</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Content Placeholder 3"/>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Content Placeholder 5"/>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60299744"/>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760841981"/>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dirty="0"/>
          </a:p>
        </p:txBody>
      </p:sp>
      <p:pic>
        <p:nvPicPr>
          <p:cNvPr id="1217" name="Рисунок 1216"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18" name="Рисунок 1217"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19" name="Рисунок 1218"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20" name="Рисунок 1219"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21" name="Рисунок 1220"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22" name="Рисунок 1221"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23" name="Рисунок 1222"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24" name="Рисунок 1223"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25" name="Рисунок 1224"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26" name="Рисунок 1225"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27" name="Рисунок 1226"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28" name="Рисунок 1227"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29" name="Рисунок 1228"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30" name="Рисунок 1229"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31" name="Рисунок 1230"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32" name="Рисунок 1231"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33" name="Рисунок 1232"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34" name="Рисунок 1233"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35" name="Рисунок 1234"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36" name="Рисунок 1235"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37" name="Рисунок 1236"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38" name="Рисунок 1237"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39" name="Рисунок 1238"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40" name="Рисунок 1239"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41" name="Рисунок 1240"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42" name="Рисунок 1241"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43" name="Рисунок 1242"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44" name="Рисунок 1243"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45" name="Рисунок 1244"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46" name="Рисунок 1245"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47" name="Рисунок 1246"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48" name="Рисунок 1247"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49" name="Рисунок 1248"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50" name="Рисунок 1249"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51" name="Рисунок 1250"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52" name="Рисунок 1251"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53" name="Рисунок 1252"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54" name="Рисунок 1253"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55" name="Рисунок 1254"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56" name="Рисунок 1255"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57" name="Рисунок 1256"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58" name="Рисунок 1257"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59" name="Рисунок 1258"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60" name="Рисунок 1259"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61" name="Рисунок 1260"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62" name="Рисунок 1261"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388796778"/>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615768466"/>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dirty="0"/>
              <a:t>Вставка рисунка</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303200637"/>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Vertical Text Placeholder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177497437"/>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ru-RU"/>
              <a:t>Образец заголовка</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1415263377"/>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Пользовательский макет">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 imgW="471" imgH="472" progId="TCLayout.ActiveDocument.1">
                  <p:embed/>
                </p:oleObj>
              </mc:Choice>
              <mc:Fallback>
                <p:oleObj name="Слайд think-cell" r:id="rId4" imgW="471" imgH="472" progId="TCLayout.ActiveDocument.1">
                  <p:embed/>
                  <p:pic>
                    <p:nvPicPr>
                      <p:cNvPr id="5" name="Объект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Прямоугольник 3" hidden="1"/>
          <p:cNvSpPr/>
          <p:nvPr userDrawn="1">
            <p:custDataLst>
              <p:tags r:id="rId2"/>
            </p:custDataLst>
          </p:nvPr>
        </p:nvSpPr>
        <p:spPr>
          <a:xfrm>
            <a:off x="0" y="0"/>
            <a:ext cx="158750" cy="158750"/>
          </a:xfrm>
          <a:prstGeom prst="rect">
            <a:avLst/>
          </a:prstGeom>
          <a:solidFill>
            <a:schemeClr val="accent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ru-RU" sz="2000" b="0" i="0" baseline="0" dirty="0">
              <a:latin typeface="Segoe UI" panose="020B0502040204020203" pitchFamily="34" charset="0"/>
              <a:ea typeface="+mj-ea"/>
              <a:cs typeface="+mj-cs"/>
              <a:sym typeface="Segoe UI" panose="020B0502040204020203" pitchFamily="34" charset="0"/>
            </a:endParaRPr>
          </a:p>
        </p:txBody>
      </p:sp>
      <p:sp>
        <p:nvSpPr>
          <p:cNvPr id="2" name="Заголовок 1"/>
          <p:cNvSpPr>
            <a:spLocks noGrp="1"/>
          </p:cNvSpPr>
          <p:nvPr>
            <p:ph type="title"/>
          </p:nvPr>
        </p:nvSpPr>
        <p:spPr>
          <a:xfrm>
            <a:off x="391265" y="192075"/>
            <a:ext cx="10555873" cy="276999"/>
          </a:xfrm>
        </p:spPr>
        <p:txBody>
          <a:bodyPr/>
          <a:lstStyle>
            <a:lvl1pPr>
              <a:defRPr sz="2000"/>
            </a:lvl1pPr>
          </a:lstStyle>
          <a:p>
            <a:r>
              <a:rPr lang="ru-RU"/>
              <a:t>Образец заголовка</a:t>
            </a:r>
            <a:endParaRPr lang="ru-RU" dirty="0"/>
          </a:p>
        </p:txBody>
      </p:sp>
      <p:sp>
        <p:nvSpPr>
          <p:cNvPr id="3" name="Номер слайда 2"/>
          <p:cNvSpPr>
            <a:spLocks noGrp="1"/>
          </p:cNvSpPr>
          <p:nvPr>
            <p:ph type="sldNum" sz="quarter" idx="10"/>
          </p:nvPr>
        </p:nvSpPr>
        <p:spPr>
          <a:xfrm>
            <a:off x="11810470" y="6576020"/>
            <a:ext cx="589856" cy="365125"/>
          </a:xfrm>
          <a:prstGeom prst="rect">
            <a:avLst/>
          </a:prstGeom>
        </p:spPr>
        <p:txBody>
          <a:bodyPr/>
          <a:lstStyle/>
          <a:p>
            <a:fld id="{B19B0651-EE4F-4900-A07F-96A6BFA9D0F0}" type="slidenum">
              <a:rPr lang="ru-RU" smtClean="0">
                <a:solidFill>
                  <a:prstClr val="black">
                    <a:tint val="75000"/>
                  </a:prstClr>
                </a:solidFill>
              </a:rPr>
              <a:pPr/>
              <a:t>‹#›</a:t>
            </a:fld>
            <a:endParaRPr lang="ru-RU" dirty="0">
              <a:solidFill>
                <a:prstClr val="black">
                  <a:tint val="75000"/>
                </a:prstClr>
              </a:solidFill>
            </a:endParaRPr>
          </a:p>
        </p:txBody>
      </p:sp>
      <p:pic>
        <p:nvPicPr>
          <p:cNvPr id="14" name="Рисунок 13" descr="http://05311BFB0B7396CBCF59420FADC09062.dms.sberbank.ru/05311BFB0B7396CBCF59420FADC09062-A43BE17F84EBF8A14D2FBB31548AE660-EA03F1F07397044467A7D5A37B53EE79/1.png"/>
          <p:cNvPicPr>
            <a:picLocks/>
          </p:cNvPicPr>
          <p:nvPr userDrawn="1"/>
        </p:nvPicPr>
        <p:blipFill>
          <a:blip r:link="rId6"/>
          <a:stretch>
            <a:fillRect/>
          </a:stretch>
        </p:blipFill>
        <p:spPr>
          <a:xfrm>
            <a:off x="0" y="0"/>
            <a:ext cx="1588" cy="1588"/>
          </a:xfrm>
          <a:prstGeom prst="rect">
            <a:avLst/>
          </a:prstGeom>
        </p:spPr>
      </p:pic>
      <p:pic>
        <p:nvPicPr>
          <p:cNvPr id="15" name="Рисунок 14" descr="http://05311BFB0B7396CBCF59420FADC09062.dms.sberbank.ru/05311BFB0B7396CBCF59420FADC09062-A43BE17F84EBF8A14D2FBB31548AE660-EA03F1F07397044467A7D5A37B53EE79/1.png"/>
          <p:cNvPicPr>
            <a:picLocks/>
          </p:cNvPicPr>
          <p:nvPr userDrawn="1"/>
        </p:nvPicPr>
        <p:blipFill>
          <a:blip r:link="rId6"/>
          <a:stretch>
            <a:fillRect/>
          </a:stretch>
        </p:blipFill>
        <p:spPr>
          <a:xfrm>
            <a:off x="0" y="0"/>
            <a:ext cx="1588" cy="1588"/>
          </a:xfrm>
          <a:prstGeom prst="rect">
            <a:avLst/>
          </a:prstGeom>
        </p:spPr>
      </p:pic>
    </p:spTree>
    <p:extLst>
      <p:ext uri="{BB962C8B-B14F-4D97-AF65-F5344CB8AC3E}">
        <p14:creationId xmlns:p14="http://schemas.microsoft.com/office/powerpoint/2010/main" val="4121816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Полный">
    <p:spTree>
      <p:nvGrpSpPr>
        <p:cNvPr id="1" name=""/>
        <p:cNvGrpSpPr/>
        <p:nvPr/>
      </p:nvGrpSpPr>
      <p:grpSpPr>
        <a:xfrm>
          <a:off x="0" y="0"/>
          <a:ext cx="0" cy="0"/>
          <a:chOff x="0" y="0"/>
          <a:chExt cx="0" cy="0"/>
        </a:xfrm>
      </p:grpSpPr>
      <p:sp>
        <p:nvSpPr>
          <p:cNvPr id="61" name="Прямоугольник 60">
            <a:extLst>
              <a:ext uri="{FF2B5EF4-FFF2-40B4-BE49-F238E27FC236}">
                <a16:creationId xmlns:a16="http://schemas.microsoft.com/office/drawing/2014/main" id="{1039A48A-BAC9-7648-90C0-DA5E4F3CBAEC}"/>
              </a:ext>
            </a:extLst>
          </p:cNvPr>
          <p:cNvSpPr/>
          <p:nvPr userDrawn="1"/>
        </p:nvSpPr>
        <p:spPr>
          <a:xfrm>
            <a:off x="2134800" y="1"/>
            <a:ext cx="1006795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 name="TextBox 1"/>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sp>
        <p:nvSpPr>
          <p:cNvPr id="9" name="Title 1"/>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grpSp>
        <p:nvGrpSpPr>
          <p:cNvPr id="45" name="Группа 44">
            <a:extLst>
              <a:ext uri="{FF2B5EF4-FFF2-40B4-BE49-F238E27FC236}">
                <a16:creationId xmlns:a16="http://schemas.microsoft.com/office/drawing/2014/main" id="{0C8A99B0-BB0F-594E-BBB2-4F6C422A5D73}"/>
              </a:ext>
            </a:extLst>
          </p:cNvPr>
          <p:cNvGrpSpPr/>
          <p:nvPr userDrawn="1"/>
        </p:nvGrpSpPr>
        <p:grpSpPr>
          <a:xfrm>
            <a:off x="0" y="-7200"/>
            <a:ext cx="2148770" cy="553998"/>
            <a:chOff x="0" y="11193"/>
            <a:chExt cx="2148770" cy="553998"/>
          </a:xfrm>
        </p:grpSpPr>
        <p:sp>
          <p:nvSpPr>
            <p:cNvPr id="25" name="Прямоугольник 24">
              <a:extLst>
                <a:ext uri="{FF2B5EF4-FFF2-40B4-BE49-F238E27FC236}">
                  <a16:creationId xmlns:a16="http://schemas.microsoft.com/office/drawing/2014/main" id="{E5D7A035-431C-6942-AA7F-02341277A576}"/>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6" name="TextBox 25">
              <a:extLst>
                <a:ext uri="{FF2B5EF4-FFF2-40B4-BE49-F238E27FC236}">
                  <a16:creationId xmlns:a16="http://schemas.microsoft.com/office/drawing/2014/main" id="{4596D7C1-5BF8-8C45-930B-067DE7DAA062}"/>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46" name="TextBox 45">
              <a:extLst>
                <a:ext uri="{FF2B5EF4-FFF2-40B4-BE49-F238E27FC236}">
                  <a16:creationId xmlns:a16="http://schemas.microsoft.com/office/drawing/2014/main" id="{7D6EA4F5-6C93-9D43-8A29-61D5D1098B38}"/>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112" name="Прямоугольник 111">
            <a:extLst>
              <a:ext uri="{FF2B5EF4-FFF2-40B4-BE49-F238E27FC236}">
                <a16:creationId xmlns:a16="http://schemas.microsoft.com/office/drawing/2014/main" id="{2BB5DBF7-97FA-8B40-8DF1-98E4F0DF7AE2}"/>
              </a:ext>
            </a:extLst>
          </p:cNvPr>
          <p:cNvSpPr/>
          <p:nvPr userDrawn="1"/>
        </p:nvSpPr>
        <p:spPr>
          <a:xfrm>
            <a:off x="-5093665" y="-106734"/>
            <a:ext cx="2134800" cy="504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nvGrpSpPr>
          <p:cNvPr id="33" name="Группа 32">
            <a:extLst>
              <a:ext uri="{FF2B5EF4-FFF2-40B4-BE49-F238E27FC236}">
                <a16:creationId xmlns:a16="http://schemas.microsoft.com/office/drawing/2014/main" id="{B7C010CF-AB15-AD4D-B9F9-D700BF9DD6A8}"/>
              </a:ext>
            </a:extLst>
          </p:cNvPr>
          <p:cNvGrpSpPr/>
          <p:nvPr userDrawn="1"/>
        </p:nvGrpSpPr>
        <p:grpSpPr>
          <a:xfrm>
            <a:off x="-5093665" y="540000"/>
            <a:ext cx="4660570" cy="6048000"/>
            <a:chOff x="-5093665" y="529200"/>
            <a:chExt cx="4660570" cy="6048000"/>
          </a:xfrm>
        </p:grpSpPr>
        <p:sp>
          <p:nvSpPr>
            <p:cNvPr id="148" name="Прямоугольник 147">
              <a:extLst>
                <a:ext uri="{FF2B5EF4-FFF2-40B4-BE49-F238E27FC236}">
                  <a16:creationId xmlns:a16="http://schemas.microsoft.com/office/drawing/2014/main" id="{0BCCC7D5-D56B-C54C-A0E1-59522836691A}"/>
                </a:ext>
              </a:extLst>
            </p:cNvPr>
            <p:cNvSpPr/>
            <p:nvPr userDrawn="1"/>
          </p:nvSpPr>
          <p:spPr>
            <a:xfrm>
              <a:off x="-5093665" y="3121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49" name="TextBox 148">
              <a:extLst>
                <a:ext uri="{FF2B5EF4-FFF2-40B4-BE49-F238E27FC236}">
                  <a16:creationId xmlns:a16="http://schemas.microsoft.com/office/drawing/2014/main" id="{8A8BDD25-F40E-4640-BEC3-23D47557F343}"/>
                </a:ext>
              </a:extLst>
            </p:cNvPr>
            <p:cNvSpPr txBox="1"/>
            <p:nvPr userDrawn="1"/>
          </p:nvSpPr>
          <p:spPr>
            <a:xfrm>
              <a:off x="-4489176" y="32217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8" name="Рисунок 7">
              <a:extLst>
                <a:ext uri="{FF2B5EF4-FFF2-40B4-BE49-F238E27FC236}">
                  <a16:creationId xmlns:a16="http://schemas.microsoft.com/office/drawing/2014/main" id="{89F55528-EE2E-614E-BC99-45B57B76FB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24394" y="3193200"/>
              <a:ext cx="288000" cy="288000"/>
            </a:xfrm>
            <a:prstGeom prst="rect">
              <a:avLst/>
            </a:prstGeom>
          </p:spPr>
        </p:pic>
        <p:sp>
          <p:nvSpPr>
            <p:cNvPr id="173" name="Прямоугольник 172">
              <a:extLst>
                <a:ext uri="{FF2B5EF4-FFF2-40B4-BE49-F238E27FC236}">
                  <a16:creationId xmlns:a16="http://schemas.microsoft.com/office/drawing/2014/main" id="{EDD205B0-5168-E449-81AB-28D8BB3B0B5E}"/>
                </a:ext>
              </a:extLst>
            </p:cNvPr>
            <p:cNvSpPr/>
            <p:nvPr userDrawn="1"/>
          </p:nvSpPr>
          <p:spPr>
            <a:xfrm>
              <a:off x="-2567895" y="3121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74" name="TextBox 173">
              <a:extLst>
                <a:ext uri="{FF2B5EF4-FFF2-40B4-BE49-F238E27FC236}">
                  <a16:creationId xmlns:a16="http://schemas.microsoft.com/office/drawing/2014/main" id="{A5021444-A504-6D42-8440-4E11125F4BD8}"/>
                </a:ext>
              </a:extLst>
            </p:cNvPr>
            <p:cNvSpPr txBox="1"/>
            <p:nvPr userDrawn="1"/>
          </p:nvSpPr>
          <p:spPr>
            <a:xfrm>
              <a:off x="-1963406" y="3221784"/>
              <a:ext cx="1439290" cy="230832"/>
            </a:xfrm>
            <a:prstGeom prst="rect">
              <a:avLst/>
            </a:prstGeom>
            <a:noFill/>
          </p:spPr>
          <p:txBody>
            <a:bodyPr wrap="square" rtlCol="0" anchor="ctr">
              <a:spAutoFit/>
            </a:bodyPr>
            <a:lstStyle/>
            <a:p>
              <a:r>
                <a:rPr lang="en-US" sz="900" b="1" dirty="0">
                  <a:solidFill>
                    <a:schemeClr val="bg1"/>
                  </a:solidFill>
                </a:rPr>
                <a:t>Risk Model Governance</a:t>
              </a:r>
              <a:endParaRPr lang="ru-RU" sz="900" b="1" dirty="0">
                <a:solidFill>
                  <a:schemeClr val="bg1"/>
                </a:solidFill>
              </a:endParaRPr>
            </a:p>
          </p:txBody>
        </p:sp>
        <p:pic>
          <p:nvPicPr>
            <p:cNvPr id="11" name="Рисунок 10">
              <a:extLst>
                <a:ext uri="{FF2B5EF4-FFF2-40B4-BE49-F238E27FC236}">
                  <a16:creationId xmlns:a16="http://schemas.microsoft.com/office/drawing/2014/main" id="{A20E0070-84B6-3A46-997F-B5A64503383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6372" y="3193200"/>
              <a:ext cx="288000" cy="288000"/>
            </a:xfrm>
            <a:prstGeom prst="rect">
              <a:avLst/>
            </a:prstGeom>
          </p:spPr>
        </p:pic>
        <p:sp>
          <p:nvSpPr>
            <p:cNvPr id="134" name="Прямоугольник 133">
              <a:extLst>
                <a:ext uri="{FF2B5EF4-FFF2-40B4-BE49-F238E27FC236}">
                  <a16:creationId xmlns:a16="http://schemas.microsoft.com/office/drawing/2014/main" id="{E4F134CD-7C79-5145-8F1E-408ABC47E45D}"/>
                </a:ext>
              </a:extLst>
            </p:cNvPr>
            <p:cNvSpPr/>
            <p:nvPr userDrawn="1"/>
          </p:nvSpPr>
          <p:spPr>
            <a:xfrm>
              <a:off x="-5093665" y="2689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38" name="TextBox 137">
              <a:extLst>
                <a:ext uri="{FF2B5EF4-FFF2-40B4-BE49-F238E27FC236}">
                  <a16:creationId xmlns:a16="http://schemas.microsoft.com/office/drawing/2014/main" id="{6A7F204B-A2EB-F540-A2BA-B216240095A7}"/>
                </a:ext>
              </a:extLst>
            </p:cNvPr>
            <p:cNvSpPr txBox="1"/>
            <p:nvPr userDrawn="1"/>
          </p:nvSpPr>
          <p:spPr>
            <a:xfrm>
              <a:off x="-4489176" y="27897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13" name="Рисунок 12">
              <a:extLst>
                <a:ext uri="{FF2B5EF4-FFF2-40B4-BE49-F238E27FC236}">
                  <a16:creationId xmlns:a16="http://schemas.microsoft.com/office/drawing/2014/main" id="{8B5010DC-8F0F-C742-9B07-4672A539685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924394" y="2761200"/>
              <a:ext cx="288000" cy="288000"/>
            </a:xfrm>
            <a:prstGeom prst="rect">
              <a:avLst/>
            </a:prstGeom>
          </p:spPr>
        </p:pic>
        <p:sp>
          <p:nvSpPr>
            <p:cNvPr id="177" name="Прямоугольник 176">
              <a:extLst>
                <a:ext uri="{FF2B5EF4-FFF2-40B4-BE49-F238E27FC236}">
                  <a16:creationId xmlns:a16="http://schemas.microsoft.com/office/drawing/2014/main" id="{DC119702-A83D-0E40-8552-CF747ED5DD0F}"/>
                </a:ext>
              </a:extLst>
            </p:cNvPr>
            <p:cNvSpPr/>
            <p:nvPr userDrawn="1"/>
          </p:nvSpPr>
          <p:spPr>
            <a:xfrm>
              <a:off x="-2567895" y="2689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78" name="TextBox 177">
              <a:extLst>
                <a:ext uri="{FF2B5EF4-FFF2-40B4-BE49-F238E27FC236}">
                  <a16:creationId xmlns:a16="http://schemas.microsoft.com/office/drawing/2014/main" id="{DE855EAC-9911-8247-9CE0-83420387339D}"/>
                </a:ext>
              </a:extLst>
            </p:cNvPr>
            <p:cNvSpPr txBox="1"/>
            <p:nvPr userDrawn="1"/>
          </p:nvSpPr>
          <p:spPr>
            <a:xfrm>
              <a:off x="-1963406" y="2789784"/>
              <a:ext cx="1439290" cy="230832"/>
            </a:xfrm>
            <a:prstGeom prst="rect">
              <a:avLst/>
            </a:prstGeom>
            <a:noFill/>
          </p:spPr>
          <p:txBody>
            <a:bodyPr wrap="square" rtlCol="0" anchor="ctr">
              <a:spAutoFit/>
            </a:bodyPr>
            <a:lstStyle/>
            <a:p>
              <a:r>
                <a:rPr lang="en-US" sz="900" b="1" dirty="0">
                  <a:solidFill>
                    <a:schemeClr val="bg1"/>
                  </a:solidFill>
                </a:rPr>
                <a:t>Risk Data Governance</a:t>
              </a:r>
              <a:endParaRPr lang="ru-RU" sz="900" b="1" dirty="0">
                <a:solidFill>
                  <a:schemeClr val="bg1"/>
                </a:solidFill>
              </a:endParaRPr>
            </a:p>
          </p:txBody>
        </p:sp>
        <p:pic>
          <p:nvPicPr>
            <p:cNvPr id="15" name="Рисунок 14">
              <a:extLst>
                <a:ext uri="{FF2B5EF4-FFF2-40B4-BE49-F238E27FC236}">
                  <a16:creationId xmlns:a16="http://schemas.microsoft.com/office/drawing/2014/main" id="{A214EE19-7D1C-0A42-A27F-2C94B6F3C7C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96372" y="2761200"/>
              <a:ext cx="288000" cy="288000"/>
            </a:xfrm>
            <a:prstGeom prst="rect">
              <a:avLst/>
            </a:prstGeom>
          </p:spPr>
        </p:pic>
        <p:sp>
          <p:nvSpPr>
            <p:cNvPr id="122" name="Прямоугольник 121">
              <a:extLst>
                <a:ext uri="{FF2B5EF4-FFF2-40B4-BE49-F238E27FC236}">
                  <a16:creationId xmlns:a16="http://schemas.microsoft.com/office/drawing/2014/main" id="{7CF405AE-EB41-8F46-8EFA-7384F9413BEE}"/>
                </a:ext>
              </a:extLst>
            </p:cNvPr>
            <p:cNvSpPr/>
            <p:nvPr userDrawn="1"/>
          </p:nvSpPr>
          <p:spPr>
            <a:xfrm>
              <a:off x="-5093665" y="2257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23" name="TextBox 122">
              <a:extLst>
                <a:ext uri="{FF2B5EF4-FFF2-40B4-BE49-F238E27FC236}">
                  <a16:creationId xmlns:a16="http://schemas.microsoft.com/office/drawing/2014/main" id="{D0210663-C867-9241-AC1B-35C1B953B450}"/>
                </a:ext>
              </a:extLst>
            </p:cNvPr>
            <p:cNvSpPr txBox="1"/>
            <p:nvPr userDrawn="1"/>
          </p:nvSpPr>
          <p:spPr>
            <a:xfrm>
              <a:off x="-4489176" y="22885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17" name="Рисунок 16">
              <a:extLst>
                <a:ext uri="{FF2B5EF4-FFF2-40B4-BE49-F238E27FC236}">
                  <a16:creationId xmlns:a16="http://schemas.microsoft.com/office/drawing/2014/main" id="{D140F756-D879-864E-A918-8653D8D38493}"/>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4924394" y="2329200"/>
              <a:ext cx="288000" cy="288000"/>
            </a:xfrm>
            <a:prstGeom prst="rect">
              <a:avLst/>
            </a:prstGeom>
          </p:spPr>
        </p:pic>
        <p:sp>
          <p:nvSpPr>
            <p:cNvPr id="181" name="Прямоугольник 180">
              <a:extLst>
                <a:ext uri="{FF2B5EF4-FFF2-40B4-BE49-F238E27FC236}">
                  <a16:creationId xmlns:a16="http://schemas.microsoft.com/office/drawing/2014/main" id="{C0E56B4C-0F01-8E41-8712-133EAFFDF318}"/>
                </a:ext>
              </a:extLst>
            </p:cNvPr>
            <p:cNvSpPr/>
            <p:nvPr userDrawn="1"/>
          </p:nvSpPr>
          <p:spPr>
            <a:xfrm>
              <a:off x="-2567895" y="2257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2" name="TextBox 181">
              <a:extLst>
                <a:ext uri="{FF2B5EF4-FFF2-40B4-BE49-F238E27FC236}">
                  <a16:creationId xmlns:a16="http://schemas.microsoft.com/office/drawing/2014/main" id="{A4FA2114-73AD-C948-802E-06F1B3B83224}"/>
                </a:ext>
              </a:extLst>
            </p:cNvPr>
            <p:cNvSpPr txBox="1"/>
            <p:nvPr userDrawn="1"/>
          </p:nvSpPr>
          <p:spPr>
            <a:xfrm>
              <a:off x="-1963406" y="2288534"/>
              <a:ext cx="1439290" cy="369332"/>
            </a:xfrm>
            <a:prstGeom prst="rect">
              <a:avLst/>
            </a:prstGeom>
            <a:noFill/>
          </p:spPr>
          <p:txBody>
            <a:bodyPr wrap="square" rtlCol="0" anchor="ctr">
              <a:spAutoFit/>
            </a:bodyPr>
            <a:lstStyle/>
            <a:p>
              <a:r>
                <a:rPr lang="ru-RU" sz="900" b="1" dirty="0" err="1">
                  <a:solidFill>
                    <a:schemeClr val="bg1"/>
                  </a:solidFill>
                </a:rPr>
                <a:t>Страновой</a:t>
              </a:r>
              <a:r>
                <a:rPr lang="ru-RU" sz="900" b="1" dirty="0">
                  <a:solidFill>
                    <a:schemeClr val="bg1"/>
                  </a:solidFill>
                </a:rPr>
                <a:t> риск, залоги, групповая методология</a:t>
              </a:r>
            </a:p>
          </p:txBody>
        </p:sp>
        <p:pic>
          <p:nvPicPr>
            <p:cNvPr id="19" name="Рисунок 18">
              <a:extLst>
                <a:ext uri="{FF2B5EF4-FFF2-40B4-BE49-F238E27FC236}">
                  <a16:creationId xmlns:a16="http://schemas.microsoft.com/office/drawing/2014/main" id="{643203A8-8EE1-524A-AAD7-B25022D55441}"/>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2396372" y="2329200"/>
              <a:ext cx="288000" cy="288000"/>
            </a:xfrm>
            <a:prstGeom prst="rect">
              <a:avLst/>
            </a:prstGeom>
          </p:spPr>
        </p:pic>
        <p:sp>
          <p:nvSpPr>
            <p:cNvPr id="154" name="Прямоугольник 153">
              <a:extLst>
                <a:ext uri="{FF2B5EF4-FFF2-40B4-BE49-F238E27FC236}">
                  <a16:creationId xmlns:a16="http://schemas.microsoft.com/office/drawing/2014/main" id="{AE0DA309-B548-6C45-880A-4111FD2997E9}"/>
                </a:ext>
              </a:extLst>
            </p:cNvPr>
            <p:cNvSpPr/>
            <p:nvPr userDrawn="1"/>
          </p:nvSpPr>
          <p:spPr>
            <a:xfrm>
              <a:off x="-5093665" y="1825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5" name="TextBox 154">
              <a:extLst>
                <a:ext uri="{FF2B5EF4-FFF2-40B4-BE49-F238E27FC236}">
                  <a16:creationId xmlns:a16="http://schemas.microsoft.com/office/drawing/2014/main" id="{5E78940A-D3EB-AB41-8A98-9227FDE0EDF3}"/>
                </a:ext>
              </a:extLst>
            </p:cNvPr>
            <p:cNvSpPr txBox="1"/>
            <p:nvPr userDrawn="1"/>
          </p:nvSpPr>
          <p:spPr>
            <a:xfrm>
              <a:off x="-4489176" y="18565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21" name="Рисунок 20">
              <a:extLst>
                <a:ext uri="{FF2B5EF4-FFF2-40B4-BE49-F238E27FC236}">
                  <a16:creationId xmlns:a16="http://schemas.microsoft.com/office/drawing/2014/main" id="{7369BE88-04AB-8E43-AF57-44758B7751F8}"/>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4924394" y="1897200"/>
              <a:ext cx="288000" cy="288000"/>
            </a:xfrm>
            <a:prstGeom prst="rect">
              <a:avLst/>
            </a:prstGeom>
          </p:spPr>
        </p:pic>
        <p:sp>
          <p:nvSpPr>
            <p:cNvPr id="185" name="Прямоугольник 184">
              <a:extLst>
                <a:ext uri="{FF2B5EF4-FFF2-40B4-BE49-F238E27FC236}">
                  <a16:creationId xmlns:a16="http://schemas.microsoft.com/office/drawing/2014/main" id="{19D2482E-4C6F-EB41-833A-424246AA0CE4}"/>
                </a:ext>
              </a:extLst>
            </p:cNvPr>
            <p:cNvSpPr/>
            <p:nvPr userDrawn="1"/>
          </p:nvSpPr>
          <p:spPr>
            <a:xfrm>
              <a:off x="-2567895" y="1825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6" name="TextBox 185">
              <a:extLst>
                <a:ext uri="{FF2B5EF4-FFF2-40B4-BE49-F238E27FC236}">
                  <a16:creationId xmlns:a16="http://schemas.microsoft.com/office/drawing/2014/main" id="{3D4A0E51-846B-FD4A-89E3-0C65AFC8E304}"/>
                </a:ext>
              </a:extLst>
            </p:cNvPr>
            <p:cNvSpPr txBox="1"/>
            <p:nvPr userDrawn="1"/>
          </p:nvSpPr>
          <p:spPr>
            <a:xfrm>
              <a:off x="-1963406" y="1856534"/>
              <a:ext cx="1439290" cy="369332"/>
            </a:xfrm>
            <a:prstGeom prst="rect">
              <a:avLst/>
            </a:prstGeom>
            <a:noFill/>
          </p:spPr>
          <p:txBody>
            <a:bodyPr wrap="square" rtlCol="0" anchor="ctr">
              <a:spAutoFit/>
            </a:bodyPr>
            <a:lstStyle/>
            <a:p>
              <a:r>
                <a:rPr lang="ru-RU" sz="900" b="1" dirty="0">
                  <a:solidFill>
                    <a:schemeClr val="bg1"/>
                  </a:solidFill>
                </a:rPr>
                <a:t>Портфельный риск-менеджмент</a:t>
              </a:r>
            </a:p>
          </p:txBody>
        </p:sp>
        <p:pic>
          <p:nvPicPr>
            <p:cNvPr id="23" name="Рисунок 22">
              <a:extLst>
                <a:ext uri="{FF2B5EF4-FFF2-40B4-BE49-F238E27FC236}">
                  <a16:creationId xmlns:a16="http://schemas.microsoft.com/office/drawing/2014/main" id="{DACB067C-EA14-C24C-A84D-ABC193FEB944}"/>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2396372" y="1897200"/>
              <a:ext cx="288000" cy="288000"/>
            </a:xfrm>
            <a:prstGeom prst="rect">
              <a:avLst/>
            </a:prstGeom>
          </p:spPr>
        </p:pic>
        <p:sp>
          <p:nvSpPr>
            <p:cNvPr id="157" name="Прямоугольник 156">
              <a:extLst>
                <a:ext uri="{FF2B5EF4-FFF2-40B4-BE49-F238E27FC236}">
                  <a16:creationId xmlns:a16="http://schemas.microsoft.com/office/drawing/2014/main" id="{6366698E-E20D-5342-BE12-8DB24B5317B7}"/>
                </a:ext>
              </a:extLst>
            </p:cNvPr>
            <p:cNvSpPr/>
            <p:nvPr userDrawn="1"/>
          </p:nvSpPr>
          <p:spPr>
            <a:xfrm>
              <a:off x="-5093665" y="4417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8" name="TextBox 157">
              <a:extLst>
                <a:ext uri="{FF2B5EF4-FFF2-40B4-BE49-F238E27FC236}">
                  <a16:creationId xmlns:a16="http://schemas.microsoft.com/office/drawing/2014/main" id="{6A0722BC-B1F8-3A4F-98CC-C2699CD46F5D}"/>
                </a:ext>
              </a:extLst>
            </p:cNvPr>
            <p:cNvSpPr txBox="1"/>
            <p:nvPr userDrawn="1"/>
          </p:nvSpPr>
          <p:spPr>
            <a:xfrm>
              <a:off x="-4489176" y="45177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27" name="Рисунок 26">
              <a:extLst>
                <a:ext uri="{FF2B5EF4-FFF2-40B4-BE49-F238E27FC236}">
                  <a16:creationId xmlns:a16="http://schemas.microsoft.com/office/drawing/2014/main" id="{F964ECB3-7626-8F4C-A49F-243CE247FE27}"/>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924394" y="4489200"/>
              <a:ext cx="288000" cy="288000"/>
            </a:xfrm>
            <a:prstGeom prst="rect">
              <a:avLst/>
            </a:prstGeom>
          </p:spPr>
        </p:pic>
        <p:sp>
          <p:nvSpPr>
            <p:cNvPr id="193" name="Прямоугольник 192">
              <a:extLst>
                <a:ext uri="{FF2B5EF4-FFF2-40B4-BE49-F238E27FC236}">
                  <a16:creationId xmlns:a16="http://schemas.microsoft.com/office/drawing/2014/main" id="{FE89E3EE-0176-5841-8972-605EC194E2E3}"/>
                </a:ext>
              </a:extLst>
            </p:cNvPr>
            <p:cNvSpPr/>
            <p:nvPr userDrawn="1"/>
          </p:nvSpPr>
          <p:spPr>
            <a:xfrm>
              <a:off x="-2567895" y="4417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4" name="TextBox 193">
              <a:extLst>
                <a:ext uri="{FF2B5EF4-FFF2-40B4-BE49-F238E27FC236}">
                  <a16:creationId xmlns:a16="http://schemas.microsoft.com/office/drawing/2014/main" id="{7694C2C3-1CC6-5949-BB3D-1B2FD64C740B}"/>
                </a:ext>
              </a:extLst>
            </p:cNvPr>
            <p:cNvSpPr txBox="1"/>
            <p:nvPr userDrawn="1"/>
          </p:nvSpPr>
          <p:spPr>
            <a:xfrm>
              <a:off x="-1963406" y="4517784"/>
              <a:ext cx="1439290" cy="230832"/>
            </a:xfrm>
            <a:prstGeom prst="rect">
              <a:avLst/>
            </a:prstGeom>
            <a:noFill/>
          </p:spPr>
          <p:txBody>
            <a:bodyPr wrap="square" rtlCol="0" anchor="ctr">
              <a:spAutoFit/>
            </a:bodyPr>
            <a:lstStyle/>
            <a:p>
              <a:r>
                <a:rPr lang="ru-RU" sz="900" b="1" dirty="0" err="1">
                  <a:solidFill>
                    <a:schemeClr val="bg1"/>
                  </a:solidFill>
                </a:rPr>
                <a:t>Технориск</a:t>
              </a:r>
              <a:endParaRPr lang="ru-RU" sz="900" b="1" dirty="0">
                <a:solidFill>
                  <a:schemeClr val="bg1"/>
                </a:solidFill>
              </a:endParaRPr>
            </a:p>
          </p:txBody>
        </p:sp>
        <p:pic>
          <p:nvPicPr>
            <p:cNvPr id="29" name="Рисунок 28">
              <a:extLst>
                <a:ext uri="{FF2B5EF4-FFF2-40B4-BE49-F238E27FC236}">
                  <a16:creationId xmlns:a16="http://schemas.microsoft.com/office/drawing/2014/main" id="{B45933BA-EAD5-4048-9BA5-AC4A9DA9647B}"/>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2396372" y="4489200"/>
              <a:ext cx="288000" cy="288000"/>
            </a:xfrm>
            <a:prstGeom prst="rect">
              <a:avLst/>
            </a:prstGeom>
          </p:spPr>
        </p:pic>
        <p:sp>
          <p:nvSpPr>
            <p:cNvPr id="115" name="Прямоугольник 114">
              <a:extLst>
                <a:ext uri="{FF2B5EF4-FFF2-40B4-BE49-F238E27FC236}">
                  <a16:creationId xmlns:a16="http://schemas.microsoft.com/office/drawing/2014/main" id="{DD1B3AF4-485B-DE46-808B-C013A0ADBBDA}"/>
                </a:ext>
              </a:extLst>
            </p:cNvPr>
            <p:cNvSpPr/>
            <p:nvPr userDrawn="1"/>
          </p:nvSpPr>
          <p:spPr>
            <a:xfrm>
              <a:off x="-5093665" y="3553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6" name="TextBox 125">
              <a:extLst>
                <a:ext uri="{FF2B5EF4-FFF2-40B4-BE49-F238E27FC236}">
                  <a16:creationId xmlns:a16="http://schemas.microsoft.com/office/drawing/2014/main" id="{483A3CE9-ECF2-354C-B0EE-EBBC58D027A1}"/>
                </a:ext>
              </a:extLst>
            </p:cNvPr>
            <p:cNvSpPr txBox="1"/>
            <p:nvPr userDrawn="1"/>
          </p:nvSpPr>
          <p:spPr>
            <a:xfrm>
              <a:off x="-4489176" y="36537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145" name="Рисунок 144">
              <a:extLst>
                <a:ext uri="{FF2B5EF4-FFF2-40B4-BE49-F238E27FC236}">
                  <a16:creationId xmlns:a16="http://schemas.microsoft.com/office/drawing/2014/main" id="{CA3B877C-EAEC-774D-ACA1-03AABCC7EDB6}"/>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924394" y="3625200"/>
              <a:ext cx="288000" cy="288000"/>
            </a:xfrm>
            <a:prstGeom prst="rect">
              <a:avLst/>
            </a:prstGeom>
          </p:spPr>
        </p:pic>
        <p:sp>
          <p:nvSpPr>
            <p:cNvPr id="205" name="Прямоугольник 204">
              <a:extLst>
                <a:ext uri="{FF2B5EF4-FFF2-40B4-BE49-F238E27FC236}">
                  <a16:creationId xmlns:a16="http://schemas.microsoft.com/office/drawing/2014/main" id="{72F23E4B-8CF7-7644-BAEF-D87686B5E10E}"/>
                </a:ext>
              </a:extLst>
            </p:cNvPr>
            <p:cNvSpPr/>
            <p:nvPr userDrawn="1"/>
          </p:nvSpPr>
          <p:spPr>
            <a:xfrm>
              <a:off x="-2567895" y="3553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06" name="TextBox 205">
              <a:extLst>
                <a:ext uri="{FF2B5EF4-FFF2-40B4-BE49-F238E27FC236}">
                  <a16:creationId xmlns:a16="http://schemas.microsoft.com/office/drawing/2014/main" id="{B909337F-C312-794D-9746-2749ABF3D320}"/>
                </a:ext>
              </a:extLst>
            </p:cNvPr>
            <p:cNvSpPr txBox="1"/>
            <p:nvPr userDrawn="1"/>
          </p:nvSpPr>
          <p:spPr>
            <a:xfrm>
              <a:off x="-1963406" y="3653784"/>
              <a:ext cx="1439290" cy="230832"/>
            </a:xfrm>
            <a:prstGeom prst="rect">
              <a:avLst/>
            </a:prstGeom>
            <a:noFill/>
          </p:spPr>
          <p:txBody>
            <a:bodyPr wrap="square" rtlCol="0" anchor="ctr">
              <a:spAutoFit/>
            </a:bodyPr>
            <a:lstStyle/>
            <a:p>
              <a:r>
                <a:rPr lang="ru-RU" sz="900" b="1" dirty="0">
                  <a:solidFill>
                    <a:schemeClr val="bg1"/>
                  </a:solidFill>
                </a:rPr>
                <a:t>Риски банковской книги</a:t>
              </a:r>
            </a:p>
          </p:txBody>
        </p:sp>
        <p:pic>
          <p:nvPicPr>
            <p:cNvPr id="326" name="Рисунок 325">
              <a:extLst>
                <a:ext uri="{FF2B5EF4-FFF2-40B4-BE49-F238E27FC236}">
                  <a16:creationId xmlns:a16="http://schemas.microsoft.com/office/drawing/2014/main" id="{87B70CB0-23FC-0F4F-A9AD-05CC25CDD164}"/>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2396372" y="3625200"/>
              <a:ext cx="288000" cy="288000"/>
            </a:xfrm>
            <a:prstGeom prst="rect">
              <a:avLst/>
            </a:prstGeom>
          </p:spPr>
        </p:pic>
        <p:sp>
          <p:nvSpPr>
            <p:cNvPr id="116" name="Прямоугольник 115">
              <a:extLst>
                <a:ext uri="{FF2B5EF4-FFF2-40B4-BE49-F238E27FC236}">
                  <a16:creationId xmlns:a16="http://schemas.microsoft.com/office/drawing/2014/main" id="{3B765EBC-D8E8-454A-B76C-1A1255B5332E}"/>
                </a:ext>
              </a:extLst>
            </p:cNvPr>
            <p:cNvSpPr/>
            <p:nvPr userDrawn="1"/>
          </p:nvSpPr>
          <p:spPr>
            <a:xfrm>
              <a:off x="-5093665" y="3985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7" name="TextBox 126">
              <a:extLst>
                <a:ext uri="{FF2B5EF4-FFF2-40B4-BE49-F238E27FC236}">
                  <a16:creationId xmlns:a16="http://schemas.microsoft.com/office/drawing/2014/main" id="{CBDC2A0B-7B80-234D-9134-A69C042CB616}"/>
                </a:ext>
              </a:extLst>
            </p:cNvPr>
            <p:cNvSpPr txBox="1"/>
            <p:nvPr userDrawn="1"/>
          </p:nvSpPr>
          <p:spPr>
            <a:xfrm>
              <a:off x="-4489176" y="40857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147" name="Рисунок 146">
              <a:extLst>
                <a:ext uri="{FF2B5EF4-FFF2-40B4-BE49-F238E27FC236}">
                  <a16:creationId xmlns:a16="http://schemas.microsoft.com/office/drawing/2014/main" id="{FDC2491B-9C30-FA4F-AB32-75BBEB2DE972}"/>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4924394" y="4057200"/>
              <a:ext cx="288000" cy="288000"/>
            </a:xfrm>
            <a:prstGeom prst="rect">
              <a:avLst/>
            </a:prstGeom>
          </p:spPr>
        </p:pic>
        <p:sp>
          <p:nvSpPr>
            <p:cNvPr id="209" name="Прямоугольник 208">
              <a:extLst>
                <a:ext uri="{FF2B5EF4-FFF2-40B4-BE49-F238E27FC236}">
                  <a16:creationId xmlns:a16="http://schemas.microsoft.com/office/drawing/2014/main" id="{DA4CB310-1C70-D045-BF41-279B84260565}"/>
                </a:ext>
              </a:extLst>
            </p:cNvPr>
            <p:cNvSpPr/>
            <p:nvPr userDrawn="1"/>
          </p:nvSpPr>
          <p:spPr>
            <a:xfrm>
              <a:off x="-2567895" y="3985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0" name="TextBox 209">
              <a:extLst>
                <a:ext uri="{FF2B5EF4-FFF2-40B4-BE49-F238E27FC236}">
                  <a16:creationId xmlns:a16="http://schemas.microsoft.com/office/drawing/2014/main" id="{4E70CA8F-896E-8548-B2CF-CC03DD022B2F}"/>
                </a:ext>
              </a:extLst>
            </p:cNvPr>
            <p:cNvSpPr txBox="1"/>
            <p:nvPr userDrawn="1"/>
          </p:nvSpPr>
          <p:spPr>
            <a:xfrm>
              <a:off x="-1963406" y="4085784"/>
              <a:ext cx="1439290" cy="230832"/>
            </a:xfrm>
            <a:prstGeom prst="rect">
              <a:avLst/>
            </a:prstGeom>
            <a:noFill/>
          </p:spPr>
          <p:txBody>
            <a:bodyPr wrap="square" rtlCol="0" anchor="ctr">
              <a:spAutoFit/>
            </a:bodyPr>
            <a:lstStyle/>
            <a:p>
              <a:r>
                <a:rPr lang="en-US" sz="900" b="1" dirty="0" err="1">
                  <a:solidFill>
                    <a:schemeClr val="bg1"/>
                  </a:solidFill>
                </a:rPr>
                <a:t>Опер</a:t>
              </a:r>
              <a:r>
                <a:rPr lang="ru-RU" sz="900" b="1" dirty="0" err="1">
                  <a:solidFill>
                    <a:schemeClr val="bg1"/>
                  </a:solidFill>
                </a:rPr>
                <a:t>ационный</a:t>
              </a:r>
              <a:r>
                <a:rPr lang="ru-RU" sz="900" b="1" dirty="0">
                  <a:solidFill>
                    <a:schemeClr val="bg1"/>
                  </a:solidFill>
                </a:rPr>
                <a:t> риск</a:t>
              </a:r>
            </a:p>
          </p:txBody>
        </p:sp>
        <p:pic>
          <p:nvPicPr>
            <p:cNvPr id="328" name="Рисунок 327">
              <a:extLst>
                <a:ext uri="{FF2B5EF4-FFF2-40B4-BE49-F238E27FC236}">
                  <a16:creationId xmlns:a16="http://schemas.microsoft.com/office/drawing/2014/main" id="{873AE595-7C28-F046-BC11-883F77D4FD72}"/>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2396372" y="4057200"/>
              <a:ext cx="288000" cy="288000"/>
            </a:xfrm>
            <a:prstGeom prst="rect">
              <a:avLst/>
            </a:prstGeom>
          </p:spPr>
        </p:pic>
        <p:sp>
          <p:nvSpPr>
            <p:cNvPr id="117" name="Прямоугольник 116">
              <a:extLst>
                <a:ext uri="{FF2B5EF4-FFF2-40B4-BE49-F238E27FC236}">
                  <a16:creationId xmlns:a16="http://schemas.microsoft.com/office/drawing/2014/main" id="{C601E0F1-8973-6C4D-B3FA-49ED1DDE1998}"/>
                </a:ext>
              </a:extLst>
            </p:cNvPr>
            <p:cNvSpPr/>
            <p:nvPr userDrawn="1"/>
          </p:nvSpPr>
          <p:spPr>
            <a:xfrm>
              <a:off x="-5093665" y="961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8" name="TextBox 127">
              <a:extLst>
                <a:ext uri="{FF2B5EF4-FFF2-40B4-BE49-F238E27FC236}">
                  <a16:creationId xmlns:a16="http://schemas.microsoft.com/office/drawing/2014/main" id="{37A22729-1229-D244-9FE6-20283DE0AEE0}"/>
                </a:ext>
              </a:extLst>
            </p:cNvPr>
            <p:cNvSpPr txBox="1"/>
            <p:nvPr userDrawn="1"/>
          </p:nvSpPr>
          <p:spPr>
            <a:xfrm>
              <a:off x="-4489176" y="10617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144" name="Рисунок 143">
              <a:extLst>
                <a:ext uri="{FF2B5EF4-FFF2-40B4-BE49-F238E27FC236}">
                  <a16:creationId xmlns:a16="http://schemas.microsoft.com/office/drawing/2014/main" id="{67E7FB88-5B5B-BD4A-B5E6-F8A56EBCF4F3}"/>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4924394" y="1033200"/>
              <a:ext cx="288000" cy="288000"/>
            </a:xfrm>
            <a:prstGeom prst="rect">
              <a:avLst/>
            </a:prstGeom>
          </p:spPr>
        </p:pic>
        <p:sp>
          <p:nvSpPr>
            <p:cNvPr id="197" name="Прямоугольник 196">
              <a:extLst>
                <a:ext uri="{FF2B5EF4-FFF2-40B4-BE49-F238E27FC236}">
                  <a16:creationId xmlns:a16="http://schemas.microsoft.com/office/drawing/2014/main" id="{746541A8-F671-2F48-9AA2-D7A4B6A1306B}"/>
                </a:ext>
              </a:extLst>
            </p:cNvPr>
            <p:cNvSpPr/>
            <p:nvPr userDrawn="1"/>
          </p:nvSpPr>
          <p:spPr>
            <a:xfrm>
              <a:off x="-2567895" y="961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8" name="TextBox 197">
              <a:extLst>
                <a:ext uri="{FF2B5EF4-FFF2-40B4-BE49-F238E27FC236}">
                  <a16:creationId xmlns:a16="http://schemas.microsoft.com/office/drawing/2014/main" id="{B883A239-187E-264D-93E3-03E7D26097FE}"/>
                </a:ext>
              </a:extLst>
            </p:cNvPr>
            <p:cNvSpPr txBox="1"/>
            <p:nvPr userDrawn="1"/>
          </p:nvSpPr>
          <p:spPr>
            <a:xfrm>
              <a:off x="-1963406" y="1061784"/>
              <a:ext cx="1439290" cy="230832"/>
            </a:xfrm>
            <a:prstGeom prst="rect">
              <a:avLst/>
            </a:prstGeom>
            <a:noFill/>
          </p:spPr>
          <p:txBody>
            <a:bodyPr wrap="square" rtlCol="0" anchor="ctr">
              <a:spAutoFit/>
            </a:bodyPr>
            <a:lstStyle/>
            <a:p>
              <a:r>
                <a:rPr lang="ru-RU" sz="900" b="1" dirty="0">
                  <a:solidFill>
                    <a:schemeClr val="bg1"/>
                  </a:solidFill>
                </a:rPr>
                <a:t>Календарь событий</a:t>
              </a:r>
            </a:p>
          </p:txBody>
        </p:sp>
        <p:pic>
          <p:nvPicPr>
            <p:cNvPr id="330" name="Рисунок 329">
              <a:extLst>
                <a:ext uri="{FF2B5EF4-FFF2-40B4-BE49-F238E27FC236}">
                  <a16:creationId xmlns:a16="http://schemas.microsoft.com/office/drawing/2014/main" id="{FE26512F-84A6-FF45-8DF7-756D6D3AD888}"/>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2396372" y="1033200"/>
              <a:ext cx="288000" cy="288000"/>
            </a:xfrm>
            <a:prstGeom prst="rect">
              <a:avLst/>
            </a:prstGeom>
          </p:spPr>
        </p:pic>
        <p:sp>
          <p:nvSpPr>
            <p:cNvPr id="118" name="Прямоугольник 117">
              <a:extLst>
                <a:ext uri="{FF2B5EF4-FFF2-40B4-BE49-F238E27FC236}">
                  <a16:creationId xmlns:a16="http://schemas.microsoft.com/office/drawing/2014/main" id="{D6EC83E3-EFBE-3E40-A296-12D7FD4C4D6D}"/>
                </a:ext>
              </a:extLst>
            </p:cNvPr>
            <p:cNvSpPr/>
            <p:nvPr userDrawn="1"/>
          </p:nvSpPr>
          <p:spPr>
            <a:xfrm>
              <a:off x="-5093665" y="4849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9" name="TextBox 128">
              <a:extLst>
                <a:ext uri="{FF2B5EF4-FFF2-40B4-BE49-F238E27FC236}">
                  <a16:creationId xmlns:a16="http://schemas.microsoft.com/office/drawing/2014/main" id="{492A81A1-7154-F944-9FAB-51B0E7A26CC0}"/>
                </a:ext>
              </a:extLst>
            </p:cNvPr>
            <p:cNvSpPr txBox="1"/>
            <p:nvPr userDrawn="1"/>
          </p:nvSpPr>
          <p:spPr>
            <a:xfrm>
              <a:off x="-4489176" y="49497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143" name="Рисунок 142">
              <a:extLst>
                <a:ext uri="{FF2B5EF4-FFF2-40B4-BE49-F238E27FC236}">
                  <a16:creationId xmlns:a16="http://schemas.microsoft.com/office/drawing/2014/main" id="{451983D5-6575-014D-891F-BD09BC63C47C}"/>
                </a:ext>
              </a:extLst>
            </p:cNvPr>
            <p:cNvPicPr>
              <a:picLocks noChangeAspect="1"/>
            </p:cNvPicPr>
            <p:nvPr userDrawn="1"/>
          </p:nvPicPr>
          <p:blipFill>
            <a:blip r:embed="rId18" cstate="hqprint">
              <a:extLst>
                <a:ext uri="{28A0092B-C50C-407E-A947-70E740481C1C}">
                  <a14:useLocalDpi xmlns:a14="http://schemas.microsoft.com/office/drawing/2010/main" val="0"/>
                </a:ext>
              </a:extLst>
            </a:blip>
            <a:stretch>
              <a:fillRect/>
            </a:stretch>
          </p:blipFill>
          <p:spPr>
            <a:xfrm>
              <a:off x="-4924394" y="4921200"/>
              <a:ext cx="288000" cy="288000"/>
            </a:xfrm>
            <a:prstGeom prst="rect">
              <a:avLst/>
            </a:prstGeom>
          </p:spPr>
        </p:pic>
        <p:sp>
          <p:nvSpPr>
            <p:cNvPr id="213" name="Прямоугольник 212">
              <a:extLst>
                <a:ext uri="{FF2B5EF4-FFF2-40B4-BE49-F238E27FC236}">
                  <a16:creationId xmlns:a16="http://schemas.microsoft.com/office/drawing/2014/main" id="{9E79646C-4B55-4E44-BCA2-EEC6BDF8EC27}"/>
                </a:ext>
              </a:extLst>
            </p:cNvPr>
            <p:cNvSpPr/>
            <p:nvPr userDrawn="1"/>
          </p:nvSpPr>
          <p:spPr>
            <a:xfrm>
              <a:off x="-2567895" y="4849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4" name="TextBox 213">
              <a:extLst>
                <a:ext uri="{FF2B5EF4-FFF2-40B4-BE49-F238E27FC236}">
                  <a16:creationId xmlns:a16="http://schemas.microsoft.com/office/drawing/2014/main" id="{7877A512-72E9-1749-90A5-C74086F31521}"/>
                </a:ext>
              </a:extLst>
            </p:cNvPr>
            <p:cNvSpPr txBox="1"/>
            <p:nvPr userDrawn="1"/>
          </p:nvSpPr>
          <p:spPr>
            <a:xfrm>
              <a:off x="-1963406" y="4949784"/>
              <a:ext cx="1439290" cy="230832"/>
            </a:xfrm>
            <a:prstGeom prst="rect">
              <a:avLst/>
            </a:prstGeom>
            <a:noFill/>
          </p:spPr>
          <p:txBody>
            <a:bodyPr wrap="square" rtlCol="0" anchor="ctr">
              <a:spAutoFit/>
            </a:bodyPr>
            <a:lstStyle/>
            <a:p>
              <a:r>
                <a:rPr lang="ru-RU" sz="900" b="1" dirty="0">
                  <a:solidFill>
                    <a:schemeClr val="bg1"/>
                  </a:solidFill>
                </a:rPr>
                <a:t>Пруденциальный офис</a:t>
              </a:r>
            </a:p>
          </p:txBody>
        </p:sp>
        <p:pic>
          <p:nvPicPr>
            <p:cNvPr id="332" name="Рисунок 331">
              <a:extLst>
                <a:ext uri="{FF2B5EF4-FFF2-40B4-BE49-F238E27FC236}">
                  <a16:creationId xmlns:a16="http://schemas.microsoft.com/office/drawing/2014/main" id="{7FD524C6-3EF6-3843-B04B-984B42047FA5}"/>
                </a:ext>
              </a:extLst>
            </p:cNvPr>
            <p:cNvPicPr>
              <a:picLocks noChangeAspect="1"/>
            </p:cNvPicPr>
            <p:nvPr userDrawn="1"/>
          </p:nvPicPr>
          <p:blipFill>
            <a:blip r:embed="rId19" cstate="hqprint">
              <a:extLst>
                <a:ext uri="{28A0092B-C50C-407E-A947-70E740481C1C}">
                  <a14:useLocalDpi xmlns:a14="http://schemas.microsoft.com/office/drawing/2010/main" val="0"/>
                </a:ext>
              </a:extLst>
            </a:blip>
            <a:stretch>
              <a:fillRect/>
            </a:stretch>
          </p:blipFill>
          <p:spPr>
            <a:xfrm>
              <a:off x="-2396372" y="4921200"/>
              <a:ext cx="288000" cy="288000"/>
            </a:xfrm>
            <a:prstGeom prst="rect">
              <a:avLst/>
            </a:prstGeom>
          </p:spPr>
        </p:pic>
        <p:sp>
          <p:nvSpPr>
            <p:cNvPr id="119" name="Прямоугольник 118">
              <a:extLst>
                <a:ext uri="{FF2B5EF4-FFF2-40B4-BE49-F238E27FC236}">
                  <a16:creationId xmlns:a16="http://schemas.microsoft.com/office/drawing/2014/main" id="{04B24462-DEAC-1B41-A199-31BAD37678FA}"/>
                </a:ext>
              </a:extLst>
            </p:cNvPr>
            <p:cNvSpPr/>
            <p:nvPr userDrawn="1"/>
          </p:nvSpPr>
          <p:spPr>
            <a:xfrm>
              <a:off x="-5093665" y="1393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0" name="TextBox 129">
              <a:extLst>
                <a:ext uri="{FF2B5EF4-FFF2-40B4-BE49-F238E27FC236}">
                  <a16:creationId xmlns:a16="http://schemas.microsoft.com/office/drawing/2014/main" id="{9B1B8B48-2F62-9744-BE30-90F20E05D2A8}"/>
                </a:ext>
              </a:extLst>
            </p:cNvPr>
            <p:cNvSpPr txBox="1"/>
            <p:nvPr userDrawn="1"/>
          </p:nvSpPr>
          <p:spPr>
            <a:xfrm>
              <a:off x="-4489176" y="14937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42" name="Рисунок 141">
              <a:extLst>
                <a:ext uri="{FF2B5EF4-FFF2-40B4-BE49-F238E27FC236}">
                  <a16:creationId xmlns:a16="http://schemas.microsoft.com/office/drawing/2014/main" id="{D8A78993-0C7C-0B48-9715-DF7273F90076}"/>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4924395" y="1465200"/>
              <a:ext cx="288000" cy="288000"/>
            </a:xfrm>
            <a:prstGeom prst="rect">
              <a:avLst/>
            </a:prstGeom>
          </p:spPr>
        </p:pic>
        <p:sp>
          <p:nvSpPr>
            <p:cNvPr id="201" name="Прямоугольник 200">
              <a:extLst>
                <a:ext uri="{FF2B5EF4-FFF2-40B4-BE49-F238E27FC236}">
                  <a16:creationId xmlns:a16="http://schemas.microsoft.com/office/drawing/2014/main" id="{C3F941D9-43D1-2F4A-8C21-F3882F82AD20}"/>
                </a:ext>
              </a:extLst>
            </p:cNvPr>
            <p:cNvSpPr/>
            <p:nvPr userDrawn="1"/>
          </p:nvSpPr>
          <p:spPr>
            <a:xfrm>
              <a:off x="-2567895" y="1393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02" name="TextBox 201">
              <a:extLst>
                <a:ext uri="{FF2B5EF4-FFF2-40B4-BE49-F238E27FC236}">
                  <a16:creationId xmlns:a16="http://schemas.microsoft.com/office/drawing/2014/main" id="{83287356-20D3-5342-9BB9-FB2A8135CA1B}"/>
                </a:ext>
              </a:extLst>
            </p:cNvPr>
            <p:cNvSpPr txBox="1"/>
            <p:nvPr userDrawn="1"/>
          </p:nvSpPr>
          <p:spPr>
            <a:xfrm>
              <a:off x="-1963406" y="1493784"/>
              <a:ext cx="1439290" cy="230832"/>
            </a:xfrm>
            <a:prstGeom prst="rect">
              <a:avLst/>
            </a:prstGeom>
            <a:noFill/>
          </p:spPr>
          <p:txBody>
            <a:bodyPr wrap="square" rtlCol="0" anchor="ctr">
              <a:spAutoFit/>
            </a:bodyPr>
            <a:lstStyle/>
            <a:p>
              <a:r>
                <a:rPr lang="ru-RU" sz="900" b="1" dirty="0">
                  <a:solidFill>
                    <a:schemeClr val="bg1"/>
                  </a:solidFill>
                </a:rPr>
                <a:t>Приоритеты недели</a:t>
              </a:r>
            </a:p>
          </p:txBody>
        </p:sp>
        <p:pic>
          <p:nvPicPr>
            <p:cNvPr id="334" name="Рисунок 333">
              <a:extLst>
                <a:ext uri="{FF2B5EF4-FFF2-40B4-BE49-F238E27FC236}">
                  <a16:creationId xmlns:a16="http://schemas.microsoft.com/office/drawing/2014/main" id="{E9A4BDFD-E859-8D42-9A54-4F15D6A68FB5}"/>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2396372" y="1465200"/>
              <a:ext cx="288000" cy="288000"/>
            </a:xfrm>
            <a:prstGeom prst="rect">
              <a:avLst/>
            </a:prstGeom>
          </p:spPr>
        </p:pic>
        <p:sp>
          <p:nvSpPr>
            <p:cNvPr id="120" name="Прямоугольник 119">
              <a:extLst>
                <a:ext uri="{FF2B5EF4-FFF2-40B4-BE49-F238E27FC236}">
                  <a16:creationId xmlns:a16="http://schemas.microsoft.com/office/drawing/2014/main" id="{A16E63B7-CF49-1744-822B-C5A24F1B4455}"/>
                </a:ext>
              </a:extLst>
            </p:cNvPr>
            <p:cNvSpPr/>
            <p:nvPr userDrawn="1"/>
          </p:nvSpPr>
          <p:spPr>
            <a:xfrm>
              <a:off x="-5093665" y="5281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1" name="TextBox 130">
              <a:extLst>
                <a:ext uri="{FF2B5EF4-FFF2-40B4-BE49-F238E27FC236}">
                  <a16:creationId xmlns:a16="http://schemas.microsoft.com/office/drawing/2014/main" id="{9D526FD2-5272-7A42-81E1-942A5E48A30E}"/>
                </a:ext>
              </a:extLst>
            </p:cNvPr>
            <p:cNvSpPr txBox="1"/>
            <p:nvPr userDrawn="1"/>
          </p:nvSpPr>
          <p:spPr>
            <a:xfrm>
              <a:off x="-4489176" y="53817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41" name="Рисунок 140">
              <a:extLst>
                <a:ext uri="{FF2B5EF4-FFF2-40B4-BE49-F238E27FC236}">
                  <a16:creationId xmlns:a16="http://schemas.microsoft.com/office/drawing/2014/main" id="{5BEDC640-F231-C647-9E2B-6E4B994B8033}"/>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4924395" y="5353200"/>
              <a:ext cx="288000" cy="288000"/>
            </a:xfrm>
            <a:prstGeom prst="rect">
              <a:avLst/>
            </a:prstGeom>
          </p:spPr>
        </p:pic>
        <p:sp>
          <p:nvSpPr>
            <p:cNvPr id="165" name="Прямоугольник 164">
              <a:extLst>
                <a:ext uri="{FF2B5EF4-FFF2-40B4-BE49-F238E27FC236}">
                  <a16:creationId xmlns:a16="http://schemas.microsoft.com/office/drawing/2014/main" id="{2990B3B4-D800-B246-8433-0950B5F8F4CC}"/>
                </a:ext>
              </a:extLst>
            </p:cNvPr>
            <p:cNvSpPr/>
            <p:nvPr userDrawn="1"/>
          </p:nvSpPr>
          <p:spPr>
            <a:xfrm>
              <a:off x="-2567895" y="5281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6" name="TextBox 165">
              <a:extLst>
                <a:ext uri="{FF2B5EF4-FFF2-40B4-BE49-F238E27FC236}">
                  <a16:creationId xmlns:a16="http://schemas.microsoft.com/office/drawing/2014/main" id="{6A6A5D67-506B-D140-A799-3E2678AE55A4}"/>
                </a:ext>
              </a:extLst>
            </p:cNvPr>
            <p:cNvSpPr txBox="1"/>
            <p:nvPr userDrawn="1"/>
          </p:nvSpPr>
          <p:spPr>
            <a:xfrm>
              <a:off x="-1963406" y="5381784"/>
              <a:ext cx="1439290" cy="230832"/>
            </a:xfrm>
            <a:prstGeom prst="rect">
              <a:avLst/>
            </a:prstGeom>
            <a:noFill/>
          </p:spPr>
          <p:txBody>
            <a:bodyPr wrap="square" rtlCol="0" anchor="ctr">
              <a:spAutoFit/>
            </a:bodyPr>
            <a:lstStyle/>
            <a:p>
              <a:r>
                <a:rPr lang="en-US" sz="900" b="1" dirty="0">
                  <a:solidFill>
                    <a:schemeClr val="bg1"/>
                  </a:solidFill>
                </a:rPr>
                <a:t>IT-</a:t>
              </a:r>
              <a:r>
                <a:rPr lang="ru-RU" sz="900" b="1" dirty="0">
                  <a:solidFill>
                    <a:schemeClr val="bg1"/>
                  </a:solidFill>
                </a:rPr>
                <a:t>внедрения</a:t>
              </a:r>
            </a:p>
          </p:txBody>
        </p:sp>
        <p:pic>
          <p:nvPicPr>
            <p:cNvPr id="336" name="Рисунок 335">
              <a:extLst>
                <a:ext uri="{FF2B5EF4-FFF2-40B4-BE49-F238E27FC236}">
                  <a16:creationId xmlns:a16="http://schemas.microsoft.com/office/drawing/2014/main" id="{5281E1D3-E28C-8746-BC62-E7C985CE77FC}"/>
                </a:ext>
              </a:extLst>
            </p:cNvPr>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2396372" y="5353200"/>
              <a:ext cx="288000" cy="288000"/>
            </a:xfrm>
            <a:prstGeom prst="rect">
              <a:avLst/>
            </a:prstGeom>
          </p:spPr>
        </p:pic>
        <p:sp>
          <p:nvSpPr>
            <p:cNvPr id="121" name="Прямоугольник 120">
              <a:extLst>
                <a:ext uri="{FF2B5EF4-FFF2-40B4-BE49-F238E27FC236}">
                  <a16:creationId xmlns:a16="http://schemas.microsoft.com/office/drawing/2014/main" id="{B5384705-97FD-994A-898C-75CFF06C53B7}"/>
                </a:ext>
              </a:extLst>
            </p:cNvPr>
            <p:cNvSpPr/>
            <p:nvPr userDrawn="1"/>
          </p:nvSpPr>
          <p:spPr>
            <a:xfrm>
              <a:off x="-5093665" y="529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2" name="TextBox 131">
              <a:extLst>
                <a:ext uri="{FF2B5EF4-FFF2-40B4-BE49-F238E27FC236}">
                  <a16:creationId xmlns:a16="http://schemas.microsoft.com/office/drawing/2014/main" id="{C13090A7-6507-A64B-B919-790EF1493424}"/>
                </a:ext>
              </a:extLst>
            </p:cNvPr>
            <p:cNvSpPr txBox="1"/>
            <p:nvPr userDrawn="1"/>
          </p:nvSpPr>
          <p:spPr>
            <a:xfrm>
              <a:off x="-4489176" y="6297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40" name="Рисунок 139">
              <a:extLst>
                <a:ext uri="{FF2B5EF4-FFF2-40B4-BE49-F238E27FC236}">
                  <a16:creationId xmlns:a16="http://schemas.microsoft.com/office/drawing/2014/main" id="{F98EFA87-BD59-A44A-BFA7-190F7C8BE2CC}"/>
                </a:ext>
              </a:extLst>
            </p:cNvPr>
            <p:cNvPicPr>
              <a:picLocks noChangeAspect="1"/>
            </p:cNvPicPr>
            <p:nvPr userDrawn="1"/>
          </p:nvPicPr>
          <p:blipFill>
            <a:blip r:embed="rId24" cstate="hqprint">
              <a:extLst>
                <a:ext uri="{28A0092B-C50C-407E-A947-70E740481C1C}">
                  <a14:useLocalDpi xmlns:a14="http://schemas.microsoft.com/office/drawing/2010/main" val="0"/>
                </a:ext>
              </a:extLst>
            </a:blip>
            <a:stretch>
              <a:fillRect/>
            </a:stretch>
          </p:blipFill>
          <p:spPr>
            <a:xfrm>
              <a:off x="-4924394" y="601200"/>
              <a:ext cx="288000" cy="288000"/>
            </a:xfrm>
            <a:prstGeom prst="rect">
              <a:avLst/>
            </a:prstGeom>
          </p:spPr>
        </p:pic>
        <p:sp>
          <p:nvSpPr>
            <p:cNvPr id="189" name="Прямоугольник 188">
              <a:extLst>
                <a:ext uri="{FF2B5EF4-FFF2-40B4-BE49-F238E27FC236}">
                  <a16:creationId xmlns:a16="http://schemas.microsoft.com/office/drawing/2014/main" id="{D741B3A2-E329-1F44-816B-BE37A24E34E9}"/>
                </a:ext>
              </a:extLst>
            </p:cNvPr>
            <p:cNvSpPr/>
            <p:nvPr userDrawn="1"/>
          </p:nvSpPr>
          <p:spPr>
            <a:xfrm>
              <a:off x="-2567895" y="529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0" name="TextBox 189">
              <a:extLst>
                <a:ext uri="{FF2B5EF4-FFF2-40B4-BE49-F238E27FC236}">
                  <a16:creationId xmlns:a16="http://schemas.microsoft.com/office/drawing/2014/main" id="{7B8AA586-144C-4746-AD9F-F13CC405DCCE}"/>
                </a:ext>
              </a:extLst>
            </p:cNvPr>
            <p:cNvSpPr txBox="1"/>
            <p:nvPr userDrawn="1"/>
          </p:nvSpPr>
          <p:spPr>
            <a:xfrm>
              <a:off x="-1963406" y="629784"/>
              <a:ext cx="1439290" cy="230832"/>
            </a:xfrm>
            <a:prstGeom prst="rect">
              <a:avLst/>
            </a:prstGeom>
            <a:noFill/>
          </p:spPr>
          <p:txBody>
            <a:bodyPr wrap="square" rtlCol="0" anchor="ctr">
              <a:spAutoFit/>
            </a:bodyPr>
            <a:lstStyle/>
            <a:p>
              <a:r>
                <a:rPr lang="ru-RU" sz="900" b="1" dirty="0">
                  <a:solidFill>
                    <a:schemeClr val="bg1"/>
                  </a:solidFill>
                </a:rPr>
                <a:t>Мониторинг КПЭ</a:t>
              </a:r>
            </a:p>
          </p:txBody>
        </p:sp>
        <p:pic>
          <p:nvPicPr>
            <p:cNvPr id="338" name="Рисунок 337">
              <a:extLst>
                <a:ext uri="{FF2B5EF4-FFF2-40B4-BE49-F238E27FC236}">
                  <a16:creationId xmlns:a16="http://schemas.microsoft.com/office/drawing/2014/main" id="{6AD49057-C1CD-B44A-AF66-D972E201F0ED}"/>
                </a:ext>
              </a:extLst>
            </p:cNvPr>
            <p:cNvPicPr>
              <a:picLocks noChangeAspect="1"/>
            </p:cNvPicPr>
            <p:nvPr userDrawn="1"/>
          </p:nvPicPr>
          <p:blipFill>
            <a:blip r:embed="rId25" cstate="hqprint">
              <a:extLst>
                <a:ext uri="{28A0092B-C50C-407E-A947-70E740481C1C}">
                  <a14:useLocalDpi xmlns:a14="http://schemas.microsoft.com/office/drawing/2010/main" val="0"/>
                </a:ext>
              </a:extLst>
            </a:blip>
            <a:stretch>
              <a:fillRect/>
            </a:stretch>
          </p:blipFill>
          <p:spPr>
            <a:xfrm>
              <a:off x="-2396372" y="601200"/>
              <a:ext cx="288000" cy="288000"/>
            </a:xfrm>
            <a:prstGeom prst="rect">
              <a:avLst/>
            </a:prstGeom>
          </p:spPr>
        </p:pic>
        <p:sp>
          <p:nvSpPr>
            <p:cNvPr id="124" name="Прямоугольник 123">
              <a:extLst>
                <a:ext uri="{FF2B5EF4-FFF2-40B4-BE49-F238E27FC236}">
                  <a16:creationId xmlns:a16="http://schemas.microsoft.com/office/drawing/2014/main" id="{8F81D259-5F68-E844-A80B-AF91C96F14A8}"/>
                </a:ext>
              </a:extLst>
            </p:cNvPr>
            <p:cNvSpPr/>
            <p:nvPr userDrawn="1"/>
          </p:nvSpPr>
          <p:spPr>
            <a:xfrm>
              <a:off x="-5093665" y="5713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5" name="TextBox 134">
              <a:extLst>
                <a:ext uri="{FF2B5EF4-FFF2-40B4-BE49-F238E27FC236}">
                  <a16:creationId xmlns:a16="http://schemas.microsoft.com/office/drawing/2014/main" id="{AB143CA4-A188-3848-BB0B-A3FA835D841D}"/>
                </a:ext>
              </a:extLst>
            </p:cNvPr>
            <p:cNvSpPr txBox="1"/>
            <p:nvPr userDrawn="1"/>
          </p:nvSpPr>
          <p:spPr>
            <a:xfrm>
              <a:off x="-4489176" y="58137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37" name="Рисунок 136">
              <a:extLst>
                <a:ext uri="{FF2B5EF4-FFF2-40B4-BE49-F238E27FC236}">
                  <a16:creationId xmlns:a16="http://schemas.microsoft.com/office/drawing/2014/main" id="{90510E33-CA11-F14E-A863-2DF7B4082C59}"/>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4924394" y="5785200"/>
              <a:ext cx="288000" cy="288000"/>
            </a:xfrm>
            <a:prstGeom prst="rect">
              <a:avLst/>
            </a:prstGeom>
          </p:spPr>
        </p:pic>
        <p:sp>
          <p:nvSpPr>
            <p:cNvPr id="217" name="Прямоугольник 216">
              <a:extLst>
                <a:ext uri="{FF2B5EF4-FFF2-40B4-BE49-F238E27FC236}">
                  <a16:creationId xmlns:a16="http://schemas.microsoft.com/office/drawing/2014/main" id="{55F1BF3E-C3B7-584A-A6F9-EC8004508276}"/>
                </a:ext>
              </a:extLst>
            </p:cNvPr>
            <p:cNvSpPr/>
            <p:nvPr userDrawn="1"/>
          </p:nvSpPr>
          <p:spPr>
            <a:xfrm>
              <a:off x="-2567895" y="5713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8" name="TextBox 217">
              <a:extLst>
                <a:ext uri="{FF2B5EF4-FFF2-40B4-BE49-F238E27FC236}">
                  <a16:creationId xmlns:a16="http://schemas.microsoft.com/office/drawing/2014/main" id="{AC821BF5-A328-5B4E-9D52-F365F9EE0893}"/>
                </a:ext>
              </a:extLst>
            </p:cNvPr>
            <p:cNvSpPr txBox="1"/>
            <p:nvPr userDrawn="1"/>
          </p:nvSpPr>
          <p:spPr>
            <a:xfrm>
              <a:off x="-1963406" y="5813784"/>
              <a:ext cx="1439290" cy="230832"/>
            </a:xfrm>
            <a:prstGeom prst="rect">
              <a:avLst/>
            </a:prstGeom>
            <a:noFill/>
          </p:spPr>
          <p:txBody>
            <a:bodyPr wrap="square" rtlCol="0" anchor="ctr">
              <a:spAutoFit/>
            </a:bodyPr>
            <a:lstStyle/>
            <a:p>
              <a:r>
                <a:rPr lang="en-US" sz="900" b="1" dirty="0">
                  <a:solidFill>
                    <a:schemeClr val="bg1"/>
                  </a:solidFill>
                </a:rPr>
                <a:t>Housekeeping dashboard</a:t>
              </a:r>
              <a:endParaRPr lang="ru-RU" sz="900" b="1" dirty="0">
                <a:solidFill>
                  <a:schemeClr val="bg1"/>
                </a:solidFill>
              </a:endParaRPr>
            </a:p>
          </p:txBody>
        </p:sp>
        <p:pic>
          <p:nvPicPr>
            <p:cNvPr id="340" name="Рисунок 339">
              <a:extLst>
                <a:ext uri="{FF2B5EF4-FFF2-40B4-BE49-F238E27FC236}">
                  <a16:creationId xmlns:a16="http://schemas.microsoft.com/office/drawing/2014/main" id="{F1B954CD-F432-3F4D-8A1B-A1646C40FEF4}"/>
                </a:ext>
              </a:extLst>
            </p:cNvPr>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2396372" y="5785200"/>
              <a:ext cx="288000" cy="288000"/>
            </a:xfrm>
            <a:prstGeom prst="rect">
              <a:avLst/>
            </a:prstGeom>
          </p:spPr>
        </p:pic>
        <p:sp>
          <p:nvSpPr>
            <p:cNvPr id="125" name="Прямоугольник 124">
              <a:extLst>
                <a:ext uri="{FF2B5EF4-FFF2-40B4-BE49-F238E27FC236}">
                  <a16:creationId xmlns:a16="http://schemas.microsoft.com/office/drawing/2014/main" id="{F8BA2D93-3381-3F41-A673-E1B470476389}"/>
                </a:ext>
              </a:extLst>
            </p:cNvPr>
            <p:cNvSpPr/>
            <p:nvPr userDrawn="1"/>
          </p:nvSpPr>
          <p:spPr>
            <a:xfrm>
              <a:off x="-5093665" y="6145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6" name="TextBox 135">
              <a:extLst>
                <a:ext uri="{FF2B5EF4-FFF2-40B4-BE49-F238E27FC236}">
                  <a16:creationId xmlns:a16="http://schemas.microsoft.com/office/drawing/2014/main" id="{CF97D0CF-B80E-4846-ABF6-06736C7556E8}"/>
                </a:ext>
              </a:extLst>
            </p:cNvPr>
            <p:cNvSpPr txBox="1"/>
            <p:nvPr userDrawn="1"/>
          </p:nvSpPr>
          <p:spPr>
            <a:xfrm>
              <a:off x="-4489176" y="62457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46" name="Рисунок 145">
              <a:extLst>
                <a:ext uri="{FF2B5EF4-FFF2-40B4-BE49-F238E27FC236}">
                  <a16:creationId xmlns:a16="http://schemas.microsoft.com/office/drawing/2014/main" id="{A987CB5B-BE98-A342-BE63-2B9C70A990B1}"/>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4924394" y="6217200"/>
              <a:ext cx="288000" cy="288000"/>
            </a:xfrm>
            <a:prstGeom prst="rect">
              <a:avLst/>
            </a:prstGeom>
          </p:spPr>
        </p:pic>
        <p:sp>
          <p:nvSpPr>
            <p:cNvPr id="161" name="Прямоугольник 160">
              <a:extLst>
                <a:ext uri="{FF2B5EF4-FFF2-40B4-BE49-F238E27FC236}">
                  <a16:creationId xmlns:a16="http://schemas.microsoft.com/office/drawing/2014/main" id="{D8A668F4-7A40-354E-9F3F-F546A77CD83E}"/>
                </a:ext>
              </a:extLst>
            </p:cNvPr>
            <p:cNvSpPr/>
            <p:nvPr userDrawn="1"/>
          </p:nvSpPr>
          <p:spPr>
            <a:xfrm>
              <a:off x="-2567895" y="6145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2" name="TextBox 161">
              <a:extLst>
                <a:ext uri="{FF2B5EF4-FFF2-40B4-BE49-F238E27FC236}">
                  <a16:creationId xmlns:a16="http://schemas.microsoft.com/office/drawing/2014/main" id="{42FAF9B6-A2BA-2543-B4B0-80B4978F0E11}"/>
                </a:ext>
              </a:extLst>
            </p:cNvPr>
            <p:cNvSpPr txBox="1"/>
            <p:nvPr userDrawn="1"/>
          </p:nvSpPr>
          <p:spPr>
            <a:xfrm>
              <a:off x="-1963406" y="6245784"/>
              <a:ext cx="1439290" cy="230832"/>
            </a:xfrm>
            <a:prstGeom prst="rect">
              <a:avLst/>
            </a:prstGeom>
            <a:noFill/>
          </p:spPr>
          <p:txBody>
            <a:bodyPr wrap="square" rtlCol="0" anchor="ctr">
              <a:spAutoFit/>
            </a:bodyPr>
            <a:lstStyle/>
            <a:p>
              <a:r>
                <a:rPr lang="ru-RU" sz="900" b="1" dirty="0">
                  <a:solidFill>
                    <a:schemeClr val="bg1"/>
                  </a:solidFill>
                </a:rPr>
                <a:t>Дополнительно</a:t>
              </a:r>
            </a:p>
          </p:txBody>
        </p:sp>
        <p:pic>
          <p:nvPicPr>
            <p:cNvPr id="342" name="Рисунок 341">
              <a:extLst>
                <a:ext uri="{FF2B5EF4-FFF2-40B4-BE49-F238E27FC236}">
                  <a16:creationId xmlns:a16="http://schemas.microsoft.com/office/drawing/2014/main" id="{7BFE5B7C-FBDE-6546-BA3D-8114632BF92E}"/>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2396372" y="6217200"/>
              <a:ext cx="288000" cy="288000"/>
            </a:xfrm>
            <a:prstGeom prst="rect">
              <a:avLst/>
            </a:prstGeom>
          </p:spPr>
        </p:pic>
      </p:grpSp>
      <p:sp>
        <p:nvSpPr>
          <p:cNvPr id="207" name="Прямоугольник 206">
            <a:extLst>
              <a:ext uri="{FF2B5EF4-FFF2-40B4-BE49-F238E27FC236}">
                <a16:creationId xmlns:a16="http://schemas.microsoft.com/office/drawing/2014/main" id="{0A0A5862-03DB-A440-A69A-FAD6F62D35C2}"/>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08" name="TextBox 207">
            <a:extLst>
              <a:ext uri="{FF2B5EF4-FFF2-40B4-BE49-F238E27FC236}">
                <a16:creationId xmlns:a16="http://schemas.microsoft.com/office/drawing/2014/main" id="{42C836AA-8970-C349-863B-6E901350852B}"/>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211" name="Рисунок 210">
            <a:extLst>
              <a:ext uri="{FF2B5EF4-FFF2-40B4-BE49-F238E27FC236}">
                <a16:creationId xmlns:a16="http://schemas.microsoft.com/office/drawing/2014/main" id="{23722B29-4A6A-D04F-9A91-9F31C700AF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212" name="Прямоугольник 211">
            <a:extLst>
              <a:ext uri="{FF2B5EF4-FFF2-40B4-BE49-F238E27FC236}">
                <a16:creationId xmlns:a16="http://schemas.microsoft.com/office/drawing/2014/main" id="{968152FB-9C8C-0141-9784-F761E39A9120}"/>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5" name="TextBox 214">
            <a:extLst>
              <a:ext uri="{FF2B5EF4-FFF2-40B4-BE49-F238E27FC236}">
                <a16:creationId xmlns:a16="http://schemas.microsoft.com/office/drawing/2014/main" id="{5CBBF507-561A-4140-8F9A-30016B3EB579}"/>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216" name="Рисунок 215">
            <a:extLst>
              <a:ext uri="{FF2B5EF4-FFF2-40B4-BE49-F238E27FC236}">
                <a16:creationId xmlns:a16="http://schemas.microsoft.com/office/drawing/2014/main" id="{EEE81BA0-F509-AF40-BDE7-B6EB56C0877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219" name="Прямоугольник 218">
            <a:extLst>
              <a:ext uri="{FF2B5EF4-FFF2-40B4-BE49-F238E27FC236}">
                <a16:creationId xmlns:a16="http://schemas.microsoft.com/office/drawing/2014/main" id="{65A89517-AD68-8D4B-A470-8E49B6A32360}"/>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0" name="TextBox 219">
            <a:extLst>
              <a:ext uri="{FF2B5EF4-FFF2-40B4-BE49-F238E27FC236}">
                <a16:creationId xmlns:a16="http://schemas.microsoft.com/office/drawing/2014/main" id="{B3A7A76B-3DC5-F34E-BA0C-5C87135B9EF0}"/>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221" name="Рисунок 220">
            <a:extLst>
              <a:ext uri="{FF2B5EF4-FFF2-40B4-BE49-F238E27FC236}">
                <a16:creationId xmlns:a16="http://schemas.microsoft.com/office/drawing/2014/main" id="{AC30EFA7-9B2C-534C-8F71-FE4498E26738}"/>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222" name="Прямоугольник 221">
            <a:extLst>
              <a:ext uri="{FF2B5EF4-FFF2-40B4-BE49-F238E27FC236}">
                <a16:creationId xmlns:a16="http://schemas.microsoft.com/office/drawing/2014/main" id="{B4024505-4889-AA44-B923-120D73D4BD01}"/>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3" name="TextBox 222">
            <a:extLst>
              <a:ext uri="{FF2B5EF4-FFF2-40B4-BE49-F238E27FC236}">
                <a16:creationId xmlns:a16="http://schemas.microsoft.com/office/drawing/2014/main" id="{A5D25E99-9377-A544-80A1-12016A7AA5DD}"/>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224" name="Рисунок 223">
            <a:extLst>
              <a:ext uri="{FF2B5EF4-FFF2-40B4-BE49-F238E27FC236}">
                <a16:creationId xmlns:a16="http://schemas.microsoft.com/office/drawing/2014/main" id="{DC1DF41E-13AD-1347-8110-FB771122975D}"/>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225" name="Прямоугольник 224">
            <a:extLst>
              <a:ext uri="{FF2B5EF4-FFF2-40B4-BE49-F238E27FC236}">
                <a16:creationId xmlns:a16="http://schemas.microsoft.com/office/drawing/2014/main" id="{AED58F0E-5BCE-5044-B8AD-3D907988CCD2}"/>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6" name="TextBox 225">
            <a:extLst>
              <a:ext uri="{FF2B5EF4-FFF2-40B4-BE49-F238E27FC236}">
                <a16:creationId xmlns:a16="http://schemas.microsoft.com/office/drawing/2014/main" id="{72340C4A-2C86-9042-AB11-DA90A7C5D804}"/>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227" name="Рисунок 226">
            <a:extLst>
              <a:ext uri="{FF2B5EF4-FFF2-40B4-BE49-F238E27FC236}">
                <a16:creationId xmlns:a16="http://schemas.microsoft.com/office/drawing/2014/main" id="{E0BDE77D-CC0B-6040-AAA5-8045D9F85A3D}"/>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228" name="Прямоугольник 227">
            <a:extLst>
              <a:ext uri="{FF2B5EF4-FFF2-40B4-BE49-F238E27FC236}">
                <a16:creationId xmlns:a16="http://schemas.microsoft.com/office/drawing/2014/main" id="{E1E48A4B-F12A-0944-94E6-5525B1575E20}"/>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9" name="TextBox 228">
            <a:extLst>
              <a:ext uri="{FF2B5EF4-FFF2-40B4-BE49-F238E27FC236}">
                <a16:creationId xmlns:a16="http://schemas.microsoft.com/office/drawing/2014/main" id="{BB838640-8F34-B547-9D92-E06C6DD46C97}"/>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230" name="Рисунок 229">
            <a:extLst>
              <a:ext uri="{FF2B5EF4-FFF2-40B4-BE49-F238E27FC236}">
                <a16:creationId xmlns:a16="http://schemas.microsoft.com/office/drawing/2014/main" id="{8B333188-16AB-7646-8A6A-05EB031C70B2}"/>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231" name="Прямоугольник 230">
            <a:extLst>
              <a:ext uri="{FF2B5EF4-FFF2-40B4-BE49-F238E27FC236}">
                <a16:creationId xmlns:a16="http://schemas.microsoft.com/office/drawing/2014/main" id="{A663349D-7BA6-3345-A25C-53166DA20F90}"/>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2" name="TextBox 231">
            <a:extLst>
              <a:ext uri="{FF2B5EF4-FFF2-40B4-BE49-F238E27FC236}">
                <a16:creationId xmlns:a16="http://schemas.microsoft.com/office/drawing/2014/main" id="{3481EBA2-23C4-114D-91BB-A94A9E081374}"/>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233" name="Рисунок 232">
            <a:extLst>
              <a:ext uri="{FF2B5EF4-FFF2-40B4-BE49-F238E27FC236}">
                <a16:creationId xmlns:a16="http://schemas.microsoft.com/office/drawing/2014/main" id="{11AA79E8-0299-AD4C-9045-DE365DA2CFDC}"/>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234" name="Прямоугольник 233">
            <a:extLst>
              <a:ext uri="{FF2B5EF4-FFF2-40B4-BE49-F238E27FC236}">
                <a16:creationId xmlns:a16="http://schemas.microsoft.com/office/drawing/2014/main" id="{F12BD24E-BD37-DF43-B294-C89212BC587D}"/>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5" name="TextBox 234">
            <a:extLst>
              <a:ext uri="{FF2B5EF4-FFF2-40B4-BE49-F238E27FC236}">
                <a16:creationId xmlns:a16="http://schemas.microsoft.com/office/drawing/2014/main" id="{681D3870-C128-4C48-AC42-5CAB252D82EF}"/>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236" name="Рисунок 235">
            <a:extLst>
              <a:ext uri="{FF2B5EF4-FFF2-40B4-BE49-F238E27FC236}">
                <a16:creationId xmlns:a16="http://schemas.microsoft.com/office/drawing/2014/main" id="{A5E72FB6-4D59-394B-ACC0-813870D237AD}"/>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237" name="Прямоугольник 236">
            <a:extLst>
              <a:ext uri="{FF2B5EF4-FFF2-40B4-BE49-F238E27FC236}">
                <a16:creationId xmlns:a16="http://schemas.microsoft.com/office/drawing/2014/main" id="{F32BD1D7-6E30-CB40-8A38-FAB11E37DE00}"/>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8" name="TextBox 237">
            <a:extLst>
              <a:ext uri="{FF2B5EF4-FFF2-40B4-BE49-F238E27FC236}">
                <a16:creationId xmlns:a16="http://schemas.microsoft.com/office/drawing/2014/main" id="{810B3434-A831-5D48-9A7B-8E2C231CE96E}"/>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239" name="Рисунок 238">
            <a:extLst>
              <a:ext uri="{FF2B5EF4-FFF2-40B4-BE49-F238E27FC236}">
                <a16:creationId xmlns:a16="http://schemas.microsoft.com/office/drawing/2014/main" id="{94B4312E-88C9-9641-A630-B1ED93C0BB77}"/>
              </a:ext>
            </a:extLst>
          </p:cNvPr>
          <p:cNvPicPr>
            <a:picLocks noChangeAspect="1"/>
          </p:cNvPicPr>
          <p:nvPr userDrawn="1"/>
        </p:nvPicPr>
        <p:blipFill>
          <a:blip r:embed="rId18"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240" name="Прямоугольник 239">
            <a:extLst>
              <a:ext uri="{FF2B5EF4-FFF2-40B4-BE49-F238E27FC236}">
                <a16:creationId xmlns:a16="http://schemas.microsoft.com/office/drawing/2014/main" id="{0E85EDA0-A6A8-B841-8A3E-89C73C214DEC}"/>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1" name="TextBox 240">
            <a:extLst>
              <a:ext uri="{FF2B5EF4-FFF2-40B4-BE49-F238E27FC236}">
                <a16:creationId xmlns:a16="http://schemas.microsoft.com/office/drawing/2014/main" id="{1F03F0F9-E8AD-284C-B4B1-C66B2E49417B}"/>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242" name="Рисунок 241">
            <a:extLst>
              <a:ext uri="{FF2B5EF4-FFF2-40B4-BE49-F238E27FC236}">
                <a16:creationId xmlns:a16="http://schemas.microsoft.com/office/drawing/2014/main" id="{E736CA39-155B-1E43-B0E4-7E085570FAB5}"/>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243" name="Прямоугольник 242">
            <a:extLst>
              <a:ext uri="{FF2B5EF4-FFF2-40B4-BE49-F238E27FC236}">
                <a16:creationId xmlns:a16="http://schemas.microsoft.com/office/drawing/2014/main" id="{08357720-E8B4-E948-A2B3-4976B5918BFE}"/>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4" name="TextBox 243">
            <a:extLst>
              <a:ext uri="{FF2B5EF4-FFF2-40B4-BE49-F238E27FC236}">
                <a16:creationId xmlns:a16="http://schemas.microsoft.com/office/drawing/2014/main" id="{C68115D2-7233-5F40-8AFD-9294540BCBF8}"/>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245" name="Рисунок 244">
            <a:extLst>
              <a:ext uri="{FF2B5EF4-FFF2-40B4-BE49-F238E27FC236}">
                <a16:creationId xmlns:a16="http://schemas.microsoft.com/office/drawing/2014/main" id="{7210B3AA-B3BB-F942-B2E6-3D66060E2DBF}"/>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246" name="Прямоугольник 245">
            <a:extLst>
              <a:ext uri="{FF2B5EF4-FFF2-40B4-BE49-F238E27FC236}">
                <a16:creationId xmlns:a16="http://schemas.microsoft.com/office/drawing/2014/main" id="{9061AAAB-8F17-C04A-B527-E6B7A72A24B2}"/>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7" name="TextBox 246">
            <a:extLst>
              <a:ext uri="{FF2B5EF4-FFF2-40B4-BE49-F238E27FC236}">
                <a16:creationId xmlns:a16="http://schemas.microsoft.com/office/drawing/2014/main" id="{2D15E669-6A8E-1043-9336-D5E60947C37F}"/>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248" name="Рисунок 247">
            <a:extLst>
              <a:ext uri="{FF2B5EF4-FFF2-40B4-BE49-F238E27FC236}">
                <a16:creationId xmlns:a16="http://schemas.microsoft.com/office/drawing/2014/main" id="{C8605465-ECE5-2A4D-BBC5-AB91AF8EC813}"/>
              </a:ext>
            </a:extLst>
          </p:cNvPr>
          <p:cNvPicPr>
            <a:picLocks noChangeAspect="1"/>
          </p:cNvPicPr>
          <p:nvPr userDrawn="1"/>
        </p:nvPicPr>
        <p:blipFill>
          <a:blip r:embed="rId24"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249" name="Прямоугольник 248">
            <a:extLst>
              <a:ext uri="{FF2B5EF4-FFF2-40B4-BE49-F238E27FC236}">
                <a16:creationId xmlns:a16="http://schemas.microsoft.com/office/drawing/2014/main" id="{96EE7546-CDA5-D641-A768-00B23BC7534D}"/>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50" name="TextBox 249">
            <a:extLst>
              <a:ext uri="{FF2B5EF4-FFF2-40B4-BE49-F238E27FC236}">
                <a16:creationId xmlns:a16="http://schemas.microsoft.com/office/drawing/2014/main" id="{044C208F-BB8B-594E-BCF6-081894CBE930}"/>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251" name="Рисунок 250">
            <a:extLst>
              <a:ext uri="{FF2B5EF4-FFF2-40B4-BE49-F238E27FC236}">
                <a16:creationId xmlns:a16="http://schemas.microsoft.com/office/drawing/2014/main" id="{1114ADE5-33A7-4E40-BF1A-1343F8391AC1}"/>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252" name="Прямоугольник 251">
            <a:extLst>
              <a:ext uri="{FF2B5EF4-FFF2-40B4-BE49-F238E27FC236}">
                <a16:creationId xmlns:a16="http://schemas.microsoft.com/office/drawing/2014/main" id="{7478E0D9-AFC9-4041-9434-AEF3C633E38F}"/>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53" name="TextBox 252">
            <a:extLst>
              <a:ext uri="{FF2B5EF4-FFF2-40B4-BE49-F238E27FC236}">
                <a16:creationId xmlns:a16="http://schemas.microsoft.com/office/drawing/2014/main" id="{4C1DD18C-C511-6B4D-8D3A-84F3B11F9425}"/>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254" name="Рисунок 253">
            <a:extLst>
              <a:ext uri="{FF2B5EF4-FFF2-40B4-BE49-F238E27FC236}">
                <a16:creationId xmlns:a16="http://schemas.microsoft.com/office/drawing/2014/main" id="{CD974F71-B1CE-964C-BB01-E956C2C34EB8}"/>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39" name="Прямоугольник 138">
            <a:extLst>
              <a:ext uri="{FF2B5EF4-FFF2-40B4-BE49-F238E27FC236}">
                <a16:creationId xmlns:a16="http://schemas.microsoft.com/office/drawing/2014/main" id="{F7A6714F-3C4B-794A-828D-DB2F8A2A9501}"/>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50" name="Рисунок 149">
            <a:extLst>
              <a:ext uri="{FF2B5EF4-FFF2-40B4-BE49-F238E27FC236}">
                <a16:creationId xmlns:a16="http://schemas.microsoft.com/office/drawing/2014/main" id="{63F3A46F-5FB4-0248-8F8A-34F250DB0B02}"/>
              </a:ext>
            </a:extLst>
          </p:cNvPr>
          <p:cNvPicPr>
            <a:picLocks noChangeAspect="1"/>
          </p:cNvPicPr>
          <p:nvPr userDrawn="1"/>
        </p:nvPicPr>
        <p:blipFill rotWithShape="1">
          <a:blip r:embed="rId30"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spTree>
    <p:extLst>
      <p:ext uri="{BB962C8B-B14F-4D97-AF65-F5344CB8AC3E}">
        <p14:creationId xmlns:p14="http://schemas.microsoft.com/office/powerpoint/2010/main" val="17983704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Мониторинг КПЭ">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D2911D6F-3963-2549-BAB8-156C2C9A370A}"/>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F58A97C1-CBDC-F341-AB90-EB0671A1DA02}"/>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4" name="TextBox 93">
            <a:extLst>
              <a:ext uri="{FF2B5EF4-FFF2-40B4-BE49-F238E27FC236}">
                <a16:creationId xmlns:a16="http://schemas.microsoft.com/office/drawing/2014/main" id="{8ABAD0E0-B078-FF4E-83AF-D94F3678245B}"/>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78900C2C-F08F-9440-B651-250A8B029F67}"/>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A3BD6C48-99AC-894A-AF32-B3CEBA025F95}"/>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6FEF088B-0C1A-7D41-B42F-465F2D10AFB5}"/>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DA80E793-28E0-7B45-BE3D-BB9C5DCF7F93}"/>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7B529092-BF87-4541-B368-D4F955B45031}"/>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B144134F-E7F4-4C4B-A2A6-06BE4CCCDA83}"/>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4D2C5F92-922B-8644-9267-2C4DF305045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B8B515C9-560A-9E4E-A889-11AA28B2692D}"/>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72B6C16D-E325-0F49-AB28-E7483C3CC610}"/>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EEFBB6DF-9976-CC49-AAB9-2F5FDDD17D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A162622E-7B42-4F4D-BC60-9CF0CD50A9B6}"/>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05F87F52-8A16-9940-BF55-7C8122753BDF}"/>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6184F337-D850-3C43-ACB0-9CA2D5153685}"/>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11282BBF-74E1-364A-AD7B-8EED4E77E62A}"/>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7F5E27E4-4326-704E-9D37-9E217EAB2919}"/>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DC170A73-B2CF-CE41-AF47-990A7D25EC48}"/>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E7600665-B2A6-0C42-A9B5-6D24D1C43550}"/>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66263EC6-0B06-A84D-9995-C971C4D2311C}"/>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F1E9AF0-EC07-AA4A-8901-C6EA51A80E2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7A77D292-2F3A-8D44-9C87-0610F32007A5}"/>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277F4D72-D372-3B44-AB36-1F2870FB3B7B}"/>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5F3434A6-FDE7-1C4B-898D-B90C7EBC06F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12A64E19-416F-E146-BE1F-97A8CE8739C2}"/>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004F0EF6-5935-4044-B21A-B735745880CB}"/>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7CF8E0FE-8BFD-BA44-8309-1927C4C07B57}"/>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3D5BA67D-5BA8-F94A-8D0E-782B8EEEB444}"/>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D00AFB0D-849B-684C-92C3-914C68B8C606}"/>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5AC32FC8-8DDB-E549-A765-2FB44019845A}"/>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0BAFE81B-9687-4A44-B835-DA6DEAAE46BD}"/>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3672D2D8-0DB0-C34E-ADBC-3E6602C63F32}"/>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7C5A18B2-905E-F641-A171-F5CEEFA9D98C}"/>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FB17682F-79D6-3442-9587-4018B4E2135A}"/>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0" name="TextBox 89">
            <a:extLst>
              <a:ext uri="{FF2B5EF4-FFF2-40B4-BE49-F238E27FC236}">
                <a16:creationId xmlns:a16="http://schemas.microsoft.com/office/drawing/2014/main" id="{77102DF2-3E64-CA48-A02F-770198EA1A83}"/>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91" name="Рисунок 90">
            <a:extLst>
              <a:ext uri="{FF2B5EF4-FFF2-40B4-BE49-F238E27FC236}">
                <a16:creationId xmlns:a16="http://schemas.microsoft.com/office/drawing/2014/main" id="{28CDA5E5-FFFF-DF4D-9248-AB3308DC9DDD}"/>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92" name="Прямоугольник 91">
            <a:extLst>
              <a:ext uri="{FF2B5EF4-FFF2-40B4-BE49-F238E27FC236}">
                <a16:creationId xmlns:a16="http://schemas.microsoft.com/office/drawing/2014/main" id="{5B9C4F70-5EAB-F940-951E-41402FA17D14}"/>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3" name="TextBox 92">
            <a:extLst>
              <a:ext uri="{FF2B5EF4-FFF2-40B4-BE49-F238E27FC236}">
                <a16:creationId xmlns:a16="http://schemas.microsoft.com/office/drawing/2014/main" id="{9C17B975-6313-B547-A4D5-7F4D89686AA8}"/>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95" name="Рисунок 94">
            <a:extLst>
              <a:ext uri="{FF2B5EF4-FFF2-40B4-BE49-F238E27FC236}">
                <a16:creationId xmlns:a16="http://schemas.microsoft.com/office/drawing/2014/main" id="{9D065C59-C937-E743-8584-757F7F538FA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99" name="Прямоугольник 98">
            <a:extLst>
              <a:ext uri="{FF2B5EF4-FFF2-40B4-BE49-F238E27FC236}">
                <a16:creationId xmlns:a16="http://schemas.microsoft.com/office/drawing/2014/main" id="{8DC1477B-F7CB-474C-8BC6-362B252DB823}"/>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 name="TextBox 99">
            <a:extLst>
              <a:ext uri="{FF2B5EF4-FFF2-40B4-BE49-F238E27FC236}">
                <a16:creationId xmlns:a16="http://schemas.microsoft.com/office/drawing/2014/main" id="{69C38114-DC3E-0947-921E-9EE99E080FB0}"/>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01" name="Рисунок 100">
            <a:extLst>
              <a:ext uri="{FF2B5EF4-FFF2-40B4-BE49-F238E27FC236}">
                <a16:creationId xmlns:a16="http://schemas.microsoft.com/office/drawing/2014/main" id="{5FC149C7-097E-134B-BA79-FE7F5A785FB7}"/>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02" name="Прямоугольник 101">
            <a:extLst>
              <a:ext uri="{FF2B5EF4-FFF2-40B4-BE49-F238E27FC236}">
                <a16:creationId xmlns:a16="http://schemas.microsoft.com/office/drawing/2014/main" id="{103C7277-784E-8540-B91F-A778287DD6B3}"/>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BEEB009F-7CDB-E242-9E6A-BBE0B3879C36}"/>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04" name="Рисунок 103">
            <a:extLst>
              <a:ext uri="{FF2B5EF4-FFF2-40B4-BE49-F238E27FC236}">
                <a16:creationId xmlns:a16="http://schemas.microsoft.com/office/drawing/2014/main" id="{2BFE543A-F061-5645-911D-194E0734B8B7}"/>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38" name="Прямоугольник 137">
            <a:extLst>
              <a:ext uri="{FF2B5EF4-FFF2-40B4-BE49-F238E27FC236}">
                <a16:creationId xmlns:a16="http://schemas.microsoft.com/office/drawing/2014/main" id="{4CC2323C-6A9E-4240-BA4D-40C1CEBA5495}"/>
              </a:ext>
            </a:extLst>
          </p:cNvPr>
          <p:cNvSpPr/>
          <p:nvPr userDrawn="1"/>
        </p:nvSpPr>
        <p:spPr>
          <a:xfrm>
            <a:off x="0" y="540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9" name="TextBox 138">
            <a:extLst>
              <a:ext uri="{FF2B5EF4-FFF2-40B4-BE49-F238E27FC236}">
                <a16:creationId xmlns:a16="http://schemas.microsoft.com/office/drawing/2014/main" id="{36064FD3-4795-9E4B-A0A0-C4E2F733B33B}"/>
              </a:ext>
            </a:extLst>
          </p:cNvPr>
          <p:cNvSpPr txBox="1"/>
          <p:nvPr userDrawn="1"/>
        </p:nvSpPr>
        <p:spPr>
          <a:xfrm>
            <a:off x="604489" y="640584"/>
            <a:ext cx="1439290" cy="230832"/>
          </a:xfrm>
          <a:prstGeom prst="rect">
            <a:avLst/>
          </a:prstGeom>
          <a:noFill/>
        </p:spPr>
        <p:txBody>
          <a:bodyPr wrap="square" rtlCol="0" anchor="ctr">
            <a:spAutoFit/>
          </a:bodyPr>
          <a:lstStyle/>
          <a:p>
            <a:r>
              <a:rPr lang="ru-RU" sz="900" b="1" dirty="0">
                <a:solidFill>
                  <a:schemeClr val="bg1"/>
                </a:solidFill>
              </a:rPr>
              <a:t>Мониторинг КПЭ</a:t>
            </a:r>
          </a:p>
        </p:txBody>
      </p:sp>
      <p:pic>
        <p:nvPicPr>
          <p:cNvPr id="140" name="Рисунок 139">
            <a:extLst>
              <a:ext uri="{FF2B5EF4-FFF2-40B4-BE49-F238E27FC236}">
                <a16:creationId xmlns:a16="http://schemas.microsoft.com/office/drawing/2014/main" id="{E0C967F9-2C44-3C48-BA7D-10F706D9C1A5}"/>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171523" y="612000"/>
            <a:ext cx="288000" cy="288000"/>
          </a:xfrm>
          <a:prstGeom prst="rect">
            <a:avLst/>
          </a:prstGeom>
        </p:spPr>
      </p:pic>
      <p:sp>
        <p:nvSpPr>
          <p:cNvPr id="53" name="Прямоугольник 52">
            <a:extLst>
              <a:ext uri="{FF2B5EF4-FFF2-40B4-BE49-F238E27FC236}">
                <a16:creationId xmlns:a16="http://schemas.microsoft.com/office/drawing/2014/main" id="{646ECFDF-F0B2-4043-BE56-E3A909CF6811}"/>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4D172D85-9CC8-A345-945D-3FC86717EB04}"/>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17138760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727696" y="6126266"/>
            <a:ext cx="521496" cy="365125"/>
          </a:xfrm>
          <a:prstGeom prst="rect">
            <a:avLst/>
          </a:prstGeom>
        </p:spPr>
        <p:txBody>
          <a:bodyPr/>
          <a:lstStyle/>
          <a:p>
            <a:fld id="{054C8753-49EE-4AA4-B7F7-004F2534EA1E}" type="slidenum">
              <a:rPr lang="ru-RU" smtClean="0"/>
              <a:t>‹#›</a:t>
            </a:fld>
            <a:endParaRPr lang="ru-RU" dirty="0"/>
          </a:p>
        </p:txBody>
      </p:sp>
    </p:spTree>
    <p:extLst>
      <p:ext uri="{BB962C8B-B14F-4D97-AF65-F5344CB8AC3E}">
        <p14:creationId xmlns:p14="http://schemas.microsoft.com/office/powerpoint/2010/main" val="41499552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_Календарь событий">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9AC7A6EF-2731-F046-9340-D8335C227DB3}"/>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BE371AA9-EFBB-9A4A-B006-D9977C8192DE}"/>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6F21F700-E318-0C4C-80E2-474F50DE3366}"/>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0CBEBAB2-0138-3545-94E3-F318AFF46406}"/>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A0BF67A6-BE76-FB48-B823-EAF335E0C2AF}"/>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8200AA02-9FB0-684B-9A73-A35A4AE123C5}"/>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88BE1DA0-5352-1142-82F6-110C2AD79A3A}"/>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DAFD95B1-1D63-C849-9294-0E250A160415}"/>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181926F7-A984-2A41-A3B2-2BBF79A55CFA}"/>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4A7D4B31-059D-4842-8F61-1E6B21F42B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182F7E04-5079-D14B-B22F-E55C13F9F46B}"/>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99F63D9E-6D8B-3944-9EB0-80F5CAD5642C}"/>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F1757DEE-9547-1145-B0E5-1250AE1BE01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08247C9C-9324-D043-9F5F-94BB6C1E8D2A}"/>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E7CFB55A-9149-0542-8D1E-98195292148F}"/>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C87CBAA0-785A-A94D-882D-CBF1CB1AA28C}"/>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0D7251ED-27D2-0044-B602-59739F3C3296}"/>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A32AD8FB-CC58-2848-A460-BCCD853CC468}"/>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72444AC0-D840-CA41-B669-0A4F16FEFC77}"/>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A13EE542-E774-9246-BE7A-FDCF37EEC4DE}"/>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60397C1A-3DEA-4446-B270-AC540AC8150E}"/>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45AD05D-F4BD-7244-B219-409C4429FC3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7AB27106-DCE4-E24C-A707-B03E74E18239}"/>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DFD80163-178B-2D41-AC43-23AAA1598A41}"/>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423DDE2E-4AD5-F24A-AF06-B1A86986F496}"/>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CC6B15D4-147A-5649-8CEF-147DF6E2D3F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9B07AA80-4EA0-2C40-8A70-1C532093464F}"/>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77E0E205-27A6-7641-9673-944997353D53}"/>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6" name="Прямоугольник 85">
            <a:extLst>
              <a:ext uri="{FF2B5EF4-FFF2-40B4-BE49-F238E27FC236}">
                <a16:creationId xmlns:a16="http://schemas.microsoft.com/office/drawing/2014/main" id="{664E5CCC-FA5C-DE46-8C49-6B8F75CAB68E}"/>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EDD7AB78-01B4-DB44-B678-EBF8D7E2EBF2}"/>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B20FBA94-3750-BC41-A29E-A2ADD3C55BE2}"/>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E1A9A21B-F4E7-EF41-BBA3-EF3B2088F127}"/>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0650505C-451A-8C4E-8A92-7D51AA6BACA0}"/>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57FE7CE8-5631-6746-BE81-1347C15B7CBB}"/>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0EC76742-38B6-7043-8608-9E21820A8E33}"/>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224C703D-2BE6-CB49-99B3-FA8CE9027ABA}"/>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AF5DF4B9-DA5C-3B46-BA60-39BCD4AB2992}"/>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C65FD8C4-A7B6-9545-945E-47424E255D30}"/>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AAFD8516-83DB-FF4C-8AD7-0E54274ECD26}"/>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EF42D8E7-1760-D94E-87DC-625A6E3B5889}"/>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527A3BF6-FE6C-F34C-8724-863B35B459F9}"/>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B4A1EE02-C394-B149-BD71-D124B9FC27A2}"/>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6" name="Рисунок 115">
            <a:extLst>
              <a:ext uri="{FF2B5EF4-FFF2-40B4-BE49-F238E27FC236}">
                <a16:creationId xmlns:a16="http://schemas.microsoft.com/office/drawing/2014/main" id="{89EF3026-DCCE-6B43-A867-502134721609}"/>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7" name="Прямоугольник 116">
            <a:extLst>
              <a:ext uri="{FF2B5EF4-FFF2-40B4-BE49-F238E27FC236}">
                <a16:creationId xmlns:a16="http://schemas.microsoft.com/office/drawing/2014/main" id="{C521788E-9CDF-C94B-BC80-5736D1CA91E3}"/>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8" name="TextBox 117">
            <a:extLst>
              <a:ext uri="{FF2B5EF4-FFF2-40B4-BE49-F238E27FC236}">
                <a16:creationId xmlns:a16="http://schemas.microsoft.com/office/drawing/2014/main" id="{84258B79-D0F7-A24A-8A4A-52502D590BFA}"/>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9" name="Рисунок 118">
            <a:extLst>
              <a:ext uri="{FF2B5EF4-FFF2-40B4-BE49-F238E27FC236}">
                <a16:creationId xmlns:a16="http://schemas.microsoft.com/office/drawing/2014/main" id="{8C253F3C-90C4-1444-8AAD-B1A8DC312280}"/>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59" name="Прямоугольник 158">
            <a:extLst>
              <a:ext uri="{FF2B5EF4-FFF2-40B4-BE49-F238E27FC236}">
                <a16:creationId xmlns:a16="http://schemas.microsoft.com/office/drawing/2014/main" id="{548D4854-4171-1F41-8F6F-258A2DCB6E27}"/>
              </a:ext>
            </a:extLst>
          </p:cNvPr>
          <p:cNvSpPr/>
          <p:nvPr userDrawn="1"/>
        </p:nvSpPr>
        <p:spPr>
          <a:xfrm>
            <a:off x="0" y="972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5" name="TextBox 174">
            <a:extLst>
              <a:ext uri="{FF2B5EF4-FFF2-40B4-BE49-F238E27FC236}">
                <a16:creationId xmlns:a16="http://schemas.microsoft.com/office/drawing/2014/main" id="{E5BE9831-0B6C-E04C-97A5-D36F50959E20}"/>
              </a:ext>
            </a:extLst>
          </p:cNvPr>
          <p:cNvSpPr txBox="1"/>
          <p:nvPr userDrawn="1"/>
        </p:nvSpPr>
        <p:spPr>
          <a:xfrm>
            <a:off x="604489" y="1072584"/>
            <a:ext cx="1439290" cy="230832"/>
          </a:xfrm>
          <a:prstGeom prst="rect">
            <a:avLst/>
          </a:prstGeom>
          <a:noFill/>
        </p:spPr>
        <p:txBody>
          <a:bodyPr wrap="square" rtlCol="0" anchor="ctr">
            <a:spAutoFit/>
          </a:bodyPr>
          <a:lstStyle/>
          <a:p>
            <a:r>
              <a:rPr lang="ru-RU" sz="900" b="1" dirty="0">
                <a:solidFill>
                  <a:schemeClr val="bg1"/>
                </a:solidFill>
              </a:rPr>
              <a:t>Календарь событий</a:t>
            </a:r>
          </a:p>
        </p:txBody>
      </p:sp>
      <p:pic>
        <p:nvPicPr>
          <p:cNvPr id="176" name="Рисунок 175">
            <a:extLst>
              <a:ext uri="{FF2B5EF4-FFF2-40B4-BE49-F238E27FC236}">
                <a16:creationId xmlns:a16="http://schemas.microsoft.com/office/drawing/2014/main" id="{E673772C-EDB8-294A-8C21-8F8AC1C21C89}"/>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1044000"/>
            <a:ext cx="288000" cy="288000"/>
          </a:xfrm>
          <a:prstGeom prst="rect">
            <a:avLst/>
          </a:prstGeom>
        </p:spPr>
      </p:pic>
      <p:sp>
        <p:nvSpPr>
          <p:cNvPr id="53" name="Прямоугольник 52">
            <a:extLst>
              <a:ext uri="{FF2B5EF4-FFF2-40B4-BE49-F238E27FC236}">
                <a16:creationId xmlns:a16="http://schemas.microsoft.com/office/drawing/2014/main" id="{1B975F0A-56CC-514F-BE4D-9A634947AB32}"/>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4C8316A8-8131-6549-ABA6-F553F0A73886}"/>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176427299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_Приоритеты недели">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C7C0D7C3-CC59-3B49-ABC6-4F8464497852}"/>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46692CE3-CF99-6C4D-AF87-4EEE237AD060}"/>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E3D8E97D-D9AF-1B47-B901-3877729DACA8}"/>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FB99702D-BE99-3C48-82DF-F0156E50206C}"/>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780E29A5-9D79-834B-93D1-74EC3CE41E56}"/>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733B57FE-B444-084B-A8A8-48BF6BF3E11E}"/>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D46261A-B3EA-824B-87A4-9883D3ABB52B}"/>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419E23B9-6290-744E-96C0-98100FB04ACD}"/>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847FD6FF-C589-EE48-BDB5-01C265C9059D}"/>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9C22DFD4-262F-064D-843A-C0550669B36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1BD48109-ED40-6044-B297-4A5709FA33E8}"/>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2ECBBF4D-D2BA-DE47-B942-752346F0F287}"/>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3CD0BAC3-0E12-0149-A0AF-FA1659F8582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E97D1CA2-FB55-BB44-A76A-C3520AE45D4E}"/>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0193CA87-C392-374F-BCDB-1D816A3CD514}"/>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4FC98A43-2BEE-674C-A26A-63BFC595D405}"/>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49C6E907-A248-4E41-8C5F-E3B7AB993B1B}"/>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2FB38145-B4F8-1947-841A-7489A4C072CB}"/>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A543066D-AD39-7F43-AB66-47779AF6D16E}"/>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134917F6-DBDC-944A-9D78-7EAE0EA9A92A}"/>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FD7681A0-7D78-5845-A7D1-9A4FD7DF7377}"/>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CA15904-8A47-3A46-8CF2-1636F18BEED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517ABE55-0EB2-B443-9C4F-356573931BC4}"/>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DC95BDB0-BCF3-254D-AF7B-59B854D81E30}"/>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2695740B-A6DF-CA41-8C3C-8D63BDF0A45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1117B474-9292-BF45-A978-B9DD25D5F048}"/>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B4E3AE74-7B37-354C-8992-1EAA3F66A57B}"/>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8DE1D619-ABB7-D140-B706-1A7901FE6C0E}"/>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9B3A3999-4787-4045-96CD-37CF655B5D7B}"/>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AB970C35-9DF5-714B-96B9-8BD3FA7D41EE}"/>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3EA545D1-32E2-9642-80B9-4802AFC31894}"/>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241095CC-BB37-4140-AEDC-D7BA82E384E0}"/>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46952689-3042-8145-B6FD-FDEC427B8979}"/>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524C1871-396A-374E-980F-84FE3F7235D5}"/>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103" name="Прямоугольник 102">
            <a:extLst>
              <a:ext uri="{FF2B5EF4-FFF2-40B4-BE49-F238E27FC236}">
                <a16:creationId xmlns:a16="http://schemas.microsoft.com/office/drawing/2014/main" id="{0BF70237-463B-5D42-9019-E76CF12EDB65}"/>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94BA032B-6CE2-A447-AE92-58F24F3BBA99}"/>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33253CB4-F2CF-AA47-A33F-F44B13D0F950}"/>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3E521EA4-18CB-074D-8443-BD464BFFA23D}"/>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AAF62C9D-E3B9-4348-861C-E0B50BF537F3}"/>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FE6EDD20-3194-204B-AFD6-9F2E770E2C5E}"/>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1" name="Прямоугольник 110">
            <a:extLst>
              <a:ext uri="{FF2B5EF4-FFF2-40B4-BE49-F238E27FC236}">
                <a16:creationId xmlns:a16="http://schemas.microsoft.com/office/drawing/2014/main" id="{735EF0D8-D28B-2F4B-8606-05C774033EFC}"/>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2" name="TextBox 111">
            <a:extLst>
              <a:ext uri="{FF2B5EF4-FFF2-40B4-BE49-F238E27FC236}">
                <a16:creationId xmlns:a16="http://schemas.microsoft.com/office/drawing/2014/main" id="{7D5C3F6F-C897-C741-8F9C-6A9CAA3BBAC1}"/>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3" name="Рисунок 112">
            <a:extLst>
              <a:ext uri="{FF2B5EF4-FFF2-40B4-BE49-F238E27FC236}">
                <a16:creationId xmlns:a16="http://schemas.microsoft.com/office/drawing/2014/main" id="{4233A461-53D4-CE41-B251-21CBD19D13A7}"/>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4" name="Прямоугольник 113">
            <a:extLst>
              <a:ext uri="{FF2B5EF4-FFF2-40B4-BE49-F238E27FC236}">
                <a16:creationId xmlns:a16="http://schemas.microsoft.com/office/drawing/2014/main" id="{7C62A594-4746-F645-9A18-50BA4C1CDD77}"/>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6" name="TextBox 115">
            <a:extLst>
              <a:ext uri="{FF2B5EF4-FFF2-40B4-BE49-F238E27FC236}">
                <a16:creationId xmlns:a16="http://schemas.microsoft.com/office/drawing/2014/main" id="{1766E0F2-0B94-D746-B79B-3FC4654A92CC}"/>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A7D139B0-FFF9-1248-B19D-E55DD08B3ADA}"/>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80" name="Прямоугольник 179">
            <a:extLst>
              <a:ext uri="{FF2B5EF4-FFF2-40B4-BE49-F238E27FC236}">
                <a16:creationId xmlns:a16="http://schemas.microsoft.com/office/drawing/2014/main" id="{A615C458-A4CD-0E42-B2DD-12C2369304AC}"/>
              </a:ext>
            </a:extLst>
          </p:cNvPr>
          <p:cNvSpPr/>
          <p:nvPr userDrawn="1"/>
        </p:nvSpPr>
        <p:spPr>
          <a:xfrm>
            <a:off x="0" y="1404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1" name="TextBox 180">
            <a:extLst>
              <a:ext uri="{FF2B5EF4-FFF2-40B4-BE49-F238E27FC236}">
                <a16:creationId xmlns:a16="http://schemas.microsoft.com/office/drawing/2014/main" id="{EDCBED69-FADA-404F-9F68-7556C2E9EB70}"/>
              </a:ext>
            </a:extLst>
          </p:cNvPr>
          <p:cNvSpPr txBox="1"/>
          <p:nvPr userDrawn="1"/>
        </p:nvSpPr>
        <p:spPr>
          <a:xfrm>
            <a:off x="604489" y="1504584"/>
            <a:ext cx="1439290" cy="230832"/>
          </a:xfrm>
          <a:prstGeom prst="rect">
            <a:avLst/>
          </a:prstGeom>
          <a:noFill/>
        </p:spPr>
        <p:txBody>
          <a:bodyPr wrap="square" rtlCol="0" anchor="ctr">
            <a:spAutoFit/>
          </a:bodyPr>
          <a:lstStyle/>
          <a:p>
            <a:r>
              <a:rPr lang="ru-RU" sz="900" b="1" dirty="0">
                <a:solidFill>
                  <a:schemeClr val="bg1"/>
                </a:solidFill>
              </a:rPr>
              <a:t>Приоритеты недели</a:t>
            </a:r>
          </a:p>
        </p:txBody>
      </p:sp>
      <p:pic>
        <p:nvPicPr>
          <p:cNvPr id="182" name="Рисунок 181">
            <a:extLst>
              <a:ext uri="{FF2B5EF4-FFF2-40B4-BE49-F238E27FC236}">
                <a16:creationId xmlns:a16="http://schemas.microsoft.com/office/drawing/2014/main" id="{B8010064-2EC8-8C4A-BFA6-5D1749681A81}"/>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1476000"/>
            <a:ext cx="288000" cy="288000"/>
          </a:xfrm>
          <a:prstGeom prst="rect">
            <a:avLst/>
          </a:prstGeom>
        </p:spPr>
      </p:pic>
      <p:sp>
        <p:nvSpPr>
          <p:cNvPr id="53" name="Прямоугольник 52">
            <a:extLst>
              <a:ext uri="{FF2B5EF4-FFF2-40B4-BE49-F238E27FC236}">
                <a16:creationId xmlns:a16="http://schemas.microsoft.com/office/drawing/2014/main" id="{338763F2-7232-9949-8015-2EA3D3DF23EE}"/>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7C1A55B1-14CA-224B-AFA8-F5B7395D9FD7}"/>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17770145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4_Портфельный риск-менеджмент">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73E1E39B-1814-8147-9752-F1FE09CD76A2}"/>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59A6F886-2BEF-B44B-A03F-A462C1C5D914}"/>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F0D8B3B3-4D60-EC43-97F3-28037DE4CEBE}"/>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FE571792-41BE-044E-A382-58BF11315746}"/>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9501F2AD-2F64-C348-AC4D-361CA45A4F9A}"/>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954685BD-9540-3049-87BB-AB628EE6C699}"/>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B8DA9FC-8867-C64D-B28B-688F516DE887}"/>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39075473-F00A-FF42-B0C0-45862F7097D9}"/>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6BF8BFF8-9986-BE4C-A231-D8A3CA679EF2}"/>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D1C033A7-8A30-704B-A65F-A568397268F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6869E661-3207-6F43-A317-C35107195BF0}"/>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185D85F9-4991-4D45-9BEF-35AF3B113B01}"/>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F711F24C-721B-6E4E-8017-877B24D3F82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04D1E3E9-74AB-6A49-8069-38515D5FCFE1}"/>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7610C761-9C2A-C14F-8C1E-2C2EC9CCB27A}"/>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F1C418CF-E54B-894E-9364-5EAF041BE069}"/>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4" name="Прямоугольник 73">
            <a:extLst>
              <a:ext uri="{FF2B5EF4-FFF2-40B4-BE49-F238E27FC236}">
                <a16:creationId xmlns:a16="http://schemas.microsoft.com/office/drawing/2014/main" id="{A47472AD-F631-0144-8534-5C2830DACDA9}"/>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A0CA46DF-2246-3145-962D-2628F60DA537}"/>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5E078F42-0017-8B45-BCC0-DD8E369F881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36E9A61B-B187-A14D-A693-78F7E2EB394D}"/>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B9D67A45-79CC-D749-9964-C4D551F6B394}"/>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30C183C9-FAE9-F34A-B80C-8818DA5C9EF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9DD89A2C-3F8A-7D4F-825F-8C578F62AD92}"/>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620E374E-CBBE-1846-8AA7-498BF4F52ED1}"/>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92838A78-C6F2-4D4D-8400-2E19C0A26E36}"/>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1D9C07CD-2B19-1B4D-BFFA-0B10AE0E72F7}"/>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D2BFBB58-C2B2-5D46-84C0-028DFBFA9B2E}"/>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71D26728-1112-9449-81D9-BBFD8D69B13B}"/>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19D60F62-6CF6-B546-9629-9F4F733156BF}"/>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70D6A0F0-7206-3E4A-86D5-BD616B54C5FD}"/>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E6DA6343-0DC7-5D4A-AB7F-1C518D92623C}"/>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39225957-E776-AC42-A99C-708454306C05}"/>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 name="TextBox 100">
            <a:extLst>
              <a:ext uri="{FF2B5EF4-FFF2-40B4-BE49-F238E27FC236}">
                <a16:creationId xmlns:a16="http://schemas.microsoft.com/office/drawing/2014/main" id="{81D014D7-04E5-E445-96B3-09DD9D2E7EFD}"/>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2" name="Рисунок 101">
            <a:extLst>
              <a:ext uri="{FF2B5EF4-FFF2-40B4-BE49-F238E27FC236}">
                <a16:creationId xmlns:a16="http://schemas.microsoft.com/office/drawing/2014/main" id="{8B5AD4A3-1F8B-AE4B-A31B-5A8C1EE8830C}"/>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3" name="Прямоугольник 102">
            <a:extLst>
              <a:ext uri="{FF2B5EF4-FFF2-40B4-BE49-F238E27FC236}">
                <a16:creationId xmlns:a16="http://schemas.microsoft.com/office/drawing/2014/main" id="{DFB000EB-6D46-AF4F-9536-1A21846F805C}"/>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515A4E5F-AF81-E84C-8E74-EF8FFBFB1660}"/>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57D5B978-0ED8-3748-994A-D1F7369AF9F9}"/>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00983BB8-1A88-084D-9589-21D03DC769EE}"/>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A41A5CB8-70EF-694C-A175-E5B1A81D4E11}"/>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FA3ADB7C-35FF-B94B-95AD-BEE6D409E2A3}"/>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2" name="Прямоугольник 111">
            <a:extLst>
              <a:ext uri="{FF2B5EF4-FFF2-40B4-BE49-F238E27FC236}">
                <a16:creationId xmlns:a16="http://schemas.microsoft.com/office/drawing/2014/main" id="{97E4D32C-767C-DB4E-8167-0DF2BCD81FDF}"/>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3" name="TextBox 112">
            <a:extLst>
              <a:ext uri="{FF2B5EF4-FFF2-40B4-BE49-F238E27FC236}">
                <a16:creationId xmlns:a16="http://schemas.microsoft.com/office/drawing/2014/main" id="{5A099F52-94B5-E64D-AAB9-50E0A6CA01EE}"/>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4" name="Рисунок 113">
            <a:extLst>
              <a:ext uri="{FF2B5EF4-FFF2-40B4-BE49-F238E27FC236}">
                <a16:creationId xmlns:a16="http://schemas.microsoft.com/office/drawing/2014/main" id="{46F635AD-D716-8C48-9D78-83E26C165F12}"/>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5" name="Прямоугольник 114">
            <a:extLst>
              <a:ext uri="{FF2B5EF4-FFF2-40B4-BE49-F238E27FC236}">
                <a16:creationId xmlns:a16="http://schemas.microsoft.com/office/drawing/2014/main" id="{D7434F03-FCED-0949-8985-C24ACEDB9C69}"/>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6" name="TextBox 115">
            <a:extLst>
              <a:ext uri="{FF2B5EF4-FFF2-40B4-BE49-F238E27FC236}">
                <a16:creationId xmlns:a16="http://schemas.microsoft.com/office/drawing/2014/main" id="{1FB97586-DF4B-A646-B2FE-30050AC45513}"/>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540A3E7E-4857-3248-9BF6-397BC210D6D7}"/>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28" name="Прямоугольник 127">
            <a:extLst>
              <a:ext uri="{FF2B5EF4-FFF2-40B4-BE49-F238E27FC236}">
                <a16:creationId xmlns:a16="http://schemas.microsoft.com/office/drawing/2014/main" id="{9B2F3EEE-F99F-5041-B9CA-29B70B786862}"/>
              </a:ext>
            </a:extLst>
          </p:cNvPr>
          <p:cNvSpPr/>
          <p:nvPr userDrawn="1"/>
        </p:nvSpPr>
        <p:spPr>
          <a:xfrm>
            <a:off x="0" y="1836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9" name="TextBox 128">
            <a:extLst>
              <a:ext uri="{FF2B5EF4-FFF2-40B4-BE49-F238E27FC236}">
                <a16:creationId xmlns:a16="http://schemas.microsoft.com/office/drawing/2014/main" id="{82411F23-258C-AC49-9F1B-12CA96E37D44}"/>
              </a:ext>
            </a:extLst>
          </p:cNvPr>
          <p:cNvSpPr txBox="1"/>
          <p:nvPr userDrawn="1"/>
        </p:nvSpPr>
        <p:spPr>
          <a:xfrm>
            <a:off x="604489" y="1867334"/>
            <a:ext cx="1439290" cy="369332"/>
          </a:xfrm>
          <a:prstGeom prst="rect">
            <a:avLst/>
          </a:prstGeom>
          <a:noFill/>
        </p:spPr>
        <p:txBody>
          <a:bodyPr wrap="square" rtlCol="0" anchor="ctr">
            <a:spAutoFit/>
          </a:bodyPr>
          <a:lstStyle/>
          <a:p>
            <a:r>
              <a:rPr lang="ru-RU" sz="900" b="1" dirty="0">
                <a:solidFill>
                  <a:schemeClr val="bg1"/>
                </a:solidFill>
              </a:rPr>
              <a:t>Портфельный риск-менеджмент</a:t>
            </a:r>
          </a:p>
        </p:txBody>
      </p:sp>
      <p:pic>
        <p:nvPicPr>
          <p:cNvPr id="130" name="Рисунок 129">
            <a:extLst>
              <a:ext uri="{FF2B5EF4-FFF2-40B4-BE49-F238E27FC236}">
                <a16:creationId xmlns:a16="http://schemas.microsoft.com/office/drawing/2014/main" id="{0F7A0598-4D09-C449-AB3C-83E51EDA7823}"/>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171523" y="1908000"/>
            <a:ext cx="288000" cy="288000"/>
          </a:xfrm>
          <a:prstGeom prst="rect">
            <a:avLst/>
          </a:prstGeom>
        </p:spPr>
      </p:pic>
      <p:sp>
        <p:nvSpPr>
          <p:cNvPr id="53" name="Прямоугольник 52">
            <a:extLst>
              <a:ext uri="{FF2B5EF4-FFF2-40B4-BE49-F238E27FC236}">
                <a16:creationId xmlns:a16="http://schemas.microsoft.com/office/drawing/2014/main" id="{DFCB072C-B873-F54E-9C99-0E5D7FA1CEFA}"/>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2A5EE6B1-40FB-424E-A773-1078BBF93B87}"/>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349580083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5_Страновой, залоги, групповая методология">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3807C4EF-6726-D84F-B42D-20B02D62A823}"/>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3A9C5A4E-FDDF-2147-84D1-B4F34142A8A5}"/>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63ED4D20-E30A-2C47-83A6-1D299E95BD30}"/>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A5889E63-13E4-8740-BA96-1233984F0218}"/>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8E531D1F-D312-4942-9B08-86823E3BABAC}"/>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530FF116-3347-B847-BAE1-E870BC16F47D}"/>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6ADCA98F-A92D-C041-9768-7175B0664835}"/>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A9B76353-335B-644C-B349-BDD784081C35}"/>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C82875D3-4536-8F4D-AFA6-3E75FF2BC326}"/>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CC157F77-3FDE-8C46-81D9-1C85BB2847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C2EAB52D-FA92-2146-AACC-F4178B8044B1}"/>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9C755012-9877-5D46-BFC9-E37D6AB777FB}"/>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757E7F78-AD10-8942-870D-EAF936469CF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71" name="Прямоугольник 70">
            <a:extLst>
              <a:ext uri="{FF2B5EF4-FFF2-40B4-BE49-F238E27FC236}">
                <a16:creationId xmlns:a16="http://schemas.microsoft.com/office/drawing/2014/main" id="{7CC65114-C1C7-4C49-A9DE-BA11BDEFC3FC}"/>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EA1167BA-5B39-5F44-95BA-DB2F16484651}"/>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E839270E-D05B-0B4C-B4DA-B51E730F2828}"/>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CB4499D8-9F0C-924A-9BBB-F8C7E10879E0}"/>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86D06AB7-7B0F-6140-857E-6AE1F2B6E266}"/>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125AC044-542C-344B-9C4E-D6B2D3BAF31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B07AE368-14DA-F648-B727-E7336B987ADA}"/>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AB90E303-582F-DF4A-AA51-E086249454D0}"/>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5C239B0E-82F7-5B4F-A96A-95B7931825E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F7447F37-EC02-6C41-A7F8-E6B1324ED5CE}"/>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75A561D9-FDE5-C342-B3D4-0CF005DE0379}"/>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55994C36-45D8-8C48-B4B7-C7E711AEDC5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FCAC4E3E-C51B-9245-8A53-CCD3C1691991}"/>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356C6830-9754-844E-8DA9-75EA162BD3A2}"/>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7064EC08-0EFB-394B-845A-CDD2CE56FF01}"/>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7D3E9C06-31F6-FE49-88A2-1CDF04F8CFBC}"/>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E4E495A5-6C72-9343-94F7-5FD4F82C82E9}"/>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FEFF2823-1084-1846-9142-D3F96F571D47}"/>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2B3321CC-62E2-0A48-9221-EEFCF7FC8904}"/>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 name="TextBox 100">
            <a:extLst>
              <a:ext uri="{FF2B5EF4-FFF2-40B4-BE49-F238E27FC236}">
                <a16:creationId xmlns:a16="http://schemas.microsoft.com/office/drawing/2014/main" id="{1EBD213D-AAFE-D44B-9ADC-DDB97BC46C1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2" name="Рисунок 101">
            <a:extLst>
              <a:ext uri="{FF2B5EF4-FFF2-40B4-BE49-F238E27FC236}">
                <a16:creationId xmlns:a16="http://schemas.microsoft.com/office/drawing/2014/main" id="{2FC68E0D-843D-9F45-8B53-AA7A58FBEDAA}"/>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3" name="Прямоугольник 102">
            <a:extLst>
              <a:ext uri="{FF2B5EF4-FFF2-40B4-BE49-F238E27FC236}">
                <a16:creationId xmlns:a16="http://schemas.microsoft.com/office/drawing/2014/main" id="{D58D3FED-EEFA-8B4B-AA83-918E1E6EACCD}"/>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422B1D2E-ED14-2B44-916C-5F934303C462}"/>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240DCBE2-7E1E-C94F-A6EB-D565A6B99F80}"/>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0F961D5C-3510-1448-A5D3-F54FADA3B83C}"/>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EF5AE1FC-8862-4742-B5A7-B2CA5D6FE50A}"/>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DD377A89-5905-3E4F-AA0C-51235F051B55}"/>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1" name="Прямоугольник 110">
            <a:extLst>
              <a:ext uri="{FF2B5EF4-FFF2-40B4-BE49-F238E27FC236}">
                <a16:creationId xmlns:a16="http://schemas.microsoft.com/office/drawing/2014/main" id="{28E62A3A-B582-FE4A-B332-B0C1E0B35A94}"/>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3" name="TextBox 112">
            <a:extLst>
              <a:ext uri="{FF2B5EF4-FFF2-40B4-BE49-F238E27FC236}">
                <a16:creationId xmlns:a16="http://schemas.microsoft.com/office/drawing/2014/main" id="{26E88F79-85E0-684C-9A93-C876630E907D}"/>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4" name="Рисунок 113">
            <a:extLst>
              <a:ext uri="{FF2B5EF4-FFF2-40B4-BE49-F238E27FC236}">
                <a16:creationId xmlns:a16="http://schemas.microsoft.com/office/drawing/2014/main" id="{1B3ACC01-0544-5B4E-A9F7-462F2A48C60A}"/>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5" name="Прямоугольник 114">
            <a:extLst>
              <a:ext uri="{FF2B5EF4-FFF2-40B4-BE49-F238E27FC236}">
                <a16:creationId xmlns:a16="http://schemas.microsoft.com/office/drawing/2014/main" id="{C16F8D47-98CC-F847-ABE4-52F5440AC7CD}"/>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6" name="TextBox 115">
            <a:extLst>
              <a:ext uri="{FF2B5EF4-FFF2-40B4-BE49-F238E27FC236}">
                <a16:creationId xmlns:a16="http://schemas.microsoft.com/office/drawing/2014/main" id="{91DDF903-073D-8F4F-AAA4-0B28F740CABC}"/>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BABDBF7D-1605-AE40-AA7B-D1EFDC6C28B7}"/>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25" name="Прямоугольник 124">
            <a:extLst>
              <a:ext uri="{FF2B5EF4-FFF2-40B4-BE49-F238E27FC236}">
                <a16:creationId xmlns:a16="http://schemas.microsoft.com/office/drawing/2014/main" id="{E8BEAED8-BCD2-EC4C-AD15-EB2C0CDC3E41}"/>
              </a:ext>
            </a:extLst>
          </p:cNvPr>
          <p:cNvSpPr/>
          <p:nvPr userDrawn="1"/>
        </p:nvSpPr>
        <p:spPr>
          <a:xfrm>
            <a:off x="0" y="2268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6" name="TextBox 125">
            <a:extLst>
              <a:ext uri="{FF2B5EF4-FFF2-40B4-BE49-F238E27FC236}">
                <a16:creationId xmlns:a16="http://schemas.microsoft.com/office/drawing/2014/main" id="{30D5BC70-966F-DF44-8B84-F7CE302A04AA}"/>
              </a:ext>
            </a:extLst>
          </p:cNvPr>
          <p:cNvSpPr txBox="1"/>
          <p:nvPr userDrawn="1"/>
        </p:nvSpPr>
        <p:spPr>
          <a:xfrm>
            <a:off x="604489" y="2299334"/>
            <a:ext cx="1439290" cy="369332"/>
          </a:xfrm>
          <a:prstGeom prst="rect">
            <a:avLst/>
          </a:prstGeom>
          <a:noFill/>
        </p:spPr>
        <p:txBody>
          <a:bodyPr wrap="square" rtlCol="0" anchor="ctr">
            <a:spAutoFit/>
          </a:bodyPr>
          <a:lstStyle/>
          <a:p>
            <a:r>
              <a:rPr lang="ru-RU" sz="900" b="1" dirty="0" err="1">
                <a:solidFill>
                  <a:schemeClr val="bg1"/>
                </a:solidFill>
              </a:rPr>
              <a:t>Страновой</a:t>
            </a:r>
            <a:r>
              <a:rPr lang="ru-RU" sz="900" b="1" dirty="0">
                <a:solidFill>
                  <a:schemeClr val="bg1"/>
                </a:solidFill>
              </a:rPr>
              <a:t> риск, залоги, групповая методология</a:t>
            </a:r>
          </a:p>
        </p:txBody>
      </p:sp>
      <p:pic>
        <p:nvPicPr>
          <p:cNvPr id="127" name="Рисунок 126">
            <a:extLst>
              <a:ext uri="{FF2B5EF4-FFF2-40B4-BE49-F238E27FC236}">
                <a16:creationId xmlns:a16="http://schemas.microsoft.com/office/drawing/2014/main" id="{A836928C-161D-3547-B2CC-1413B4340F23}"/>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171523" y="2340000"/>
            <a:ext cx="288000" cy="288000"/>
          </a:xfrm>
          <a:prstGeom prst="rect">
            <a:avLst/>
          </a:prstGeom>
        </p:spPr>
      </p:pic>
      <p:sp>
        <p:nvSpPr>
          <p:cNvPr id="53" name="Прямоугольник 52">
            <a:extLst>
              <a:ext uri="{FF2B5EF4-FFF2-40B4-BE49-F238E27FC236}">
                <a16:creationId xmlns:a16="http://schemas.microsoft.com/office/drawing/2014/main" id="{9A9F3B59-68A4-544B-BF50-9B53FF713F2A}"/>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145BFD92-0CCC-2548-B93F-9662405F6A16}"/>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381946440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6_RDG">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C31705CD-5D0D-7A4C-AB46-2243AE0560DC}"/>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04ECA7A3-B03F-5941-9662-A1CFDEAF9B58}"/>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D471E5CA-35F9-EA46-9D8E-E098CBA0CB16}"/>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BE15C263-324D-2D4F-803D-7D09AE541695}"/>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8CA8CEA2-B50B-E74F-9F40-EDFC0D3A035A}"/>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AF9C2CDA-09E4-8644-9F9C-8B1B1BD47C91}"/>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8778F962-DBBE-FE4E-BF2B-755875EA8262}"/>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91DC37E6-EE61-B34B-B3EA-4BA8EF0F8F69}"/>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476D5459-A01B-7B43-8DF4-C23D8A497ED8}"/>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90757B9F-EA84-A14B-9EE1-80D7F3A8064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8" name="Прямоугольник 67">
            <a:extLst>
              <a:ext uri="{FF2B5EF4-FFF2-40B4-BE49-F238E27FC236}">
                <a16:creationId xmlns:a16="http://schemas.microsoft.com/office/drawing/2014/main" id="{D3F20275-0E71-664A-A6FC-2FB58EB17711}"/>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DF998A21-899E-A943-BE5D-96CED6B1FD1A}"/>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3932A2EB-D54F-D941-8E12-3035CA74FE37}"/>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8B8D5288-4388-194A-8BD5-24B1B2CDFC5C}"/>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77AB0A61-548F-9A4D-B91C-BE34EF7EAEE7}"/>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DEA178B8-F46E-E745-B636-957DA4E989C8}"/>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9575B87F-5B79-FB46-AD18-DD367AB77632}"/>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25337AFB-204B-D149-87F4-53C5DBD90A51}"/>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12275692-C073-5040-B2CA-4EA5287ED72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053A7ECE-DEDE-BF4F-AA8D-E64B10F0F126}"/>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B68D1F76-7C68-3E4C-81F5-FD85BD0893F9}"/>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53F45673-C16A-C645-8938-C10E36A6B4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3CB9BB49-388F-5A4D-AFB4-1BA6CB11CD3F}"/>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ED72030C-7730-264E-8EDB-CDBB4776AF20}"/>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A6559E0E-D093-2740-97D2-914A9CF924F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7429F954-5476-1F49-B2F4-7B63C9AE080A}"/>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4E933976-FA65-0F4F-92E4-F0180A0A9DA7}"/>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1FB117D1-659B-4645-B7C3-4A9B825ADBC2}"/>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3E7A7033-207E-CA48-BD71-4BE6CEF1B4C9}"/>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FF6487A2-2972-E847-BE73-050BC5BAFC58}"/>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C358E523-0036-064C-8EC5-9AB4437B7CF2}"/>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F50D433A-4477-AD44-B60A-088010CD1F3A}"/>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 name="TextBox 100">
            <a:extLst>
              <a:ext uri="{FF2B5EF4-FFF2-40B4-BE49-F238E27FC236}">
                <a16:creationId xmlns:a16="http://schemas.microsoft.com/office/drawing/2014/main" id="{52EE9C38-33B1-FF48-83E0-64B88E5C9E3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2" name="Рисунок 101">
            <a:extLst>
              <a:ext uri="{FF2B5EF4-FFF2-40B4-BE49-F238E27FC236}">
                <a16:creationId xmlns:a16="http://schemas.microsoft.com/office/drawing/2014/main" id="{1B8CCF4D-5DF3-834C-89AB-786C4A53AB2E}"/>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3" name="Прямоугольник 102">
            <a:extLst>
              <a:ext uri="{FF2B5EF4-FFF2-40B4-BE49-F238E27FC236}">
                <a16:creationId xmlns:a16="http://schemas.microsoft.com/office/drawing/2014/main" id="{0CDDA1D0-D26D-B14E-BFD8-B59FCAF6FC62}"/>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9637DAA0-9116-2744-96BD-75117EF24823}"/>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A8C6FCB2-989A-E04F-BBAB-79EA81343666}"/>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6031055C-5649-9448-9F7F-A20EE252D107}"/>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C00EEA30-24AD-2441-B5DA-394AABBD799A}"/>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27CFFECB-4B79-5046-A5DC-C628D4B5C87D}"/>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1" name="Прямоугольник 110">
            <a:extLst>
              <a:ext uri="{FF2B5EF4-FFF2-40B4-BE49-F238E27FC236}">
                <a16:creationId xmlns:a16="http://schemas.microsoft.com/office/drawing/2014/main" id="{7A4B72CD-BDC3-704B-9979-895C86EC8121}"/>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2" name="TextBox 111">
            <a:extLst>
              <a:ext uri="{FF2B5EF4-FFF2-40B4-BE49-F238E27FC236}">
                <a16:creationId xmlns:a16="http://schemas.microsoft.com/office/drawing/2014/main" id="{DD4E8B20-6FCD-E84A-B608-F434E5959C6C}"/>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3" name="Рисунок 112">
            <a:extLst>
              <a:ext uri="{FF2B5EF4-FFF2-40B4-BE49-F238E27FC236}">
                <a16:creationId xmlns:a16="http://schemas.microsoft.com/office/drawing/2014/main" id="{B8918800-96B1-294E-8BBC-078DF784A6AF}"/>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5" name="Прямоугольник 114">
            <a:extLst>
              <a:ext uri="{FF2B5EF4-FFF2-40B4-BE49-F238E27FC236}">
                <a16:creationId xmlns:a16="http://schemas.microsoft.com/office/drawing/2014/main" id="{2178BD51-1247-8548-810F-034F5A0AE993}"/>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6" name="TextBox 115">
            <a:extLst>
              <a:ext uri="{FF2B5EF4-FFF2-40B4-BE49-F238E27FC236}">
                <a16:creationId xmlns:a16="http://schemas.microsoft.com/office/drawing/2014/main" id="{4EEC7D48-6B50-834B-B973-9A917AD49181}"/>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0DB427EC-AAF6-A74D-8E23-02197E5F3690}"/>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21" name="Прямоугольник 120">
            <a:extLst>
              <a:ext uri="{FF2B5EF4-FFF2-40B4-BE49-F238E27FC236}">
                <a16:creationId xmlns:a16="http://schemas.microsoft.com/office/drawing/2014/main" id="{76B9DF58-897B-9746-8239-36E5B9079C4A}"/>
              </a:ext>
            </a:extLst>
          </p:cNvPr>
          <p:cNvSpPr/>
          <p:nvPr userDrawn="1"/>
        </p:nvSpPr>
        <p:spPr>
          <a:xfrm>
            <a:off x="0" y="2700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2" name="TextBox 121">
            <a:extLst>
              <a:ext uri="{FF2B5EF4-FFF2-40B4-BE49-F238E27FC236}">
                <a16:creationId xmlns:a16="http://schemas.microsoft.com/office/drawing/2014/main" id="{86312993-8EBF-4049-9E9B-1367AC493F3E}"/>
              </a:ext>
            </a:extLst>
          </p:cNvPr>
          <p:cNvSpPr txBox="1"/>
          <p:nvPr userDrawn="1"/>
        </p:nvSpPr>
        <p:spPr>
          <a:xfrm>
            <a:off x="604489" y="2800584"/>
            <a:ext cx="1439290" cy="230832"/>
          </a:xfrm>
          <a:prstGeom prst="rect">
            <a:avLst/>
          </a:prstGeom>
          <a:noFill/>
        </p:spPr>
        <p:txBody>
          <a:bodyPr wrap="square" rtlCol="0" anchor="ctr">
            <a:spAutoFit/>
          </a:bodyPr>
          <a:lstStyle/>
          <a:p>
            <a:r>
              <a:rPr lang="en-US" sz="900" b="1" dirty="0">
                <a:solidFill>
                  <a:schemeClr val="bg1"/>
                </a:solidFill>
              </a:rPr>
              <a:t>Risk Data Governance</a:t>
            </a:r>
            <a:endParaRPr lang="ru-RU" sz="900" b="1" dirty="0">
              <a:solidFill>
                <a:schemeClr val="bg1"/>
              </a:solidFill>
            </a:endParaRPr>
          </a:p>
        </p:txBody>
      </p:sp>
      <p:pic>
        <p:nvPicPr>
          <p:cNvPr id="124" name="Рисунок 123">
            <a:extLst>
              <a:ext uri="{FF2B5EF4-FFF2-40B4-BE49-F238E27FC236}">
                <a16:creationId xmlns:a16="http://schemas.microsoft.com/office/drawing/2014/main" id="{3EDFE196-BDED-3141-9409-E027BA1D8876}"/>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2772000"/>
            <a:ext cx="288000" cy="288000"/>
          </a:xfrm>
          <a:prstGeom prst="rect">
            <a:avLst/>
          </a:prstGeom>
        </p:spPr>
      </p:pic>
      <p:sp>
        <p:nvSpPr>
          <p:cNvPr id="53" name="Прямоугольник 52">
            <a:extLst>
              <a:ext uri="{FF2B5EF4-FFF2-40B4-BE49-F238E27FC236}">
                <a16:creationId xmlns:a16="http://schemas.microsoft.com/office/drawing/2014/main" id="{4021FC77-B251-3E42-BA6C-F1994A1FB0A5}"/>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2CD09D0B-D2C5-2641-8FEE-56732EEF3148}"/>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14" name="Рисунок 13" descr="http://C19E03B9ACCBFA56DC6DEDE59F81EABF.dms.sberbank.ru/C19E03B9ACCBFA56DC6DEDE59F81EABF-C84D87D17A171F6D15A801A76AF179A3-ABD1954582B367FE0B5E580EEE7824CD/1.png"/>
          <p:cNvPicPr>
            <a:picLocks/>
          </p:cNvPicPr>
          <p:nvPr userDrawn="1"/>
        </p:nvPicPr>
        <p:blipFill>
          <a:blip r:link="rId17"/>
          <a:stretch>
            <a:fillRect/>
          </a:stretch>
        </p:blipFill>
        <p:spPr>
          <a:xfrm>
            <a:off x="0" y="0"/>
            <a:ext cx="1588" cy="1588"/>
          </a:xfrm>
          <a:prstGeom prst="rect">
            <a:avLst/>
          </a:prstGeom>
        </p:spPr>
      </p:pic>
      <p:pic>
        <p:nvPicPr>
          <p:cNvPr id="15" name="Рисунок 14" descr="http://C19E03B9ACCBFA56DC6DEDE59F81EABF.dms.sberbank.ru/C19E03B9ACCBFA56DC6DEDE59F81EABF-C84D87D17A171F6D15A801A76AF179A3-ABD1954582B367FE0B5E580EEE7824CD/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36356066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7_RMG">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399BA92D-4ABE-4E4A-BB8B-D824CF0755F8}"/>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C2534959-7665-9549-891B-D8754FD4A5F3}"/>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35848C8C-DAE5-E94B-B0F3-CEA4D805FCD8}"/>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897D154F-1AEE-834D-B0A2-248344F7C9C2}"/>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328A1084-B5D7-9B4D-B50A-E6B3A731960A}"/>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539FB6A1-7179-FE4F-B74B-774E3649A8CD}"/>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EA81CB6B-DE7C-1041-8C60-F4AC01D1495B}"/>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5" name="Прямоугольник 64">
            <a:extLst>
              <a:ext uri="{FF2B5EF4-FFF2-40B4-BE49-F238E27FC236}">
                <a16:creationId xmlns:a16="http://schemas.microsoft.com/office/drawing/2014/main" id="{0BBC7E69-F409-864B-B9E4-EF819D25771E}"/>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CC87237E-293E-2240-875F-3255CBF7F35B}"/>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76A69FC9-CE77-DB44-A7E4-89CD403C01E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0F23D643-A8CA-274F-8ABB-810E3C801430}"/>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068DADCE-137C-5646-BBDA-8A150E44C90B}"/>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C4DFC0C1-8940-B04C-B95A-83CBFC2F5839}"/>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EAE2FE64-2AD6-8448-B1A0-749FA20458D3}"/>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56FF69D4-F550-6444-9997-638AC0B27B13}"/>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AEB1FFFE-365D-F642-A899-23C9326D53BC}"/>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4F4C5236-EF18-DF44-9925-BB4A166D6E2B}"/>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CF5706A9-78A1-9144-82AF-F2B34C2EBF88}"/>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70921371-6842-8147-8CDE-6190BF028B4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5070B045-5359-494D-9AA1-019C2F108A8F}"/>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B8156FBA-26A9-A945-9CD6-2D9AA26FB5DE}"/>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10A75F89-2361-3149-BC0E-FF2DA4B418E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400E5F07-8B12-D94C-97AF-FC8F1C3E19FF}"/>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F8F7826A-66F5-3944-AAD4-A76E1CCCD7B1}"/>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DB73DA07-D8CE-1149-9E02-A823DFD0023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51DD222B-9019-BE47-BADB-4652BC1F1EC6}"/>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9717A874-B1DF-7D43-A756-10B0FF458187}"/>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1229E5EC-2DCC-4A4E-81C2-E0E0288A46B7}"/>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1F8D99E8-67F2-9943-A339-73168B5BD34A}"/>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C18F9CCA-8F6C-374F-B930-47082FBC03B1}"/>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0B92972C-1EFD-B240-8D1D-BD9B44EADB07}"/>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CC764F7C-71CC-BC49-9FFD-2BC274F3B44D}"/>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 name="TextBox 100">
            <a:extLst>
              <a:ext uri="{FF2B5EF4-FFF2-40B4-BE49-F238E27FC236}">
                <a16:creationId xmlns:a16="http://schemas.microsoft.com/office/drawing/2014/main" id="{AA2E1947-0D2B-1749-88C7-EFE60CF9E81E}"/>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2" name="Рисунок 101">
            <a:extLst>
              <a:ext uri="{FF2B5EF4-FFF2-40B4-BE49-F238E27FC236}">
                <a16:creationId xmlns:a16="http://schemas.microsoft.com/office/drawing/2014/main" id="{2928D337-074F-4744-A2F9-33C66AA4405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3" name="Прямоугольник 102">
            <a:extLst>
              <a:ext uri="{FF2B5EF4-FFF2-40B4-BE49-F238E27FC236}">
                <a16:creationId xmlns:a16="http://schemas.microsoft.com/office/drawing/2014/main" id="{BF20818A-9327-B045-8D81-B23A2CE76A46}"/>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1437CB49-0ECC-F04B-B662-9A0B986AF4B0}"/>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F31EBA68-E793-7B4F-AB27-AE7F1F10359E}"/>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96BD6286-0548-AF4C-ADEA-5075359C1399}"/>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D3F6EC01-24CB-BB45-ABDB-BCB7BA5D3788}"/>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266BDD3D-3D9F-984E-88BF-9B727A8DF018}"/>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1" name="Прямоугольник 110">
            <a:extLst>
              <a:ext uri="{FF2B5EF4-FFF2-40B4-BE49-F238E27FC236}">
                <a16:creationId xmlns:a16="http://schemas.microsoft.com/office/drawing/2014/main" id="{DE8615D2-9B07-724F-8E94-7E6BC6C98DEB}"/>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2" name="TextBox 111">
            <a:extLst>
              <a:ext uri="{FF2B5EF4-FFF2-40B4-BE49-F238E27FC236}">
                <a16:creationId xmlns:a16="http://schemas.microsoft.com/office/drawing/2014/main" id="{0674BE85-84DB-0D43-8E74-22D3F2892061}"/>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3" name="Рисунок 112">
            <a:extLst>
              <a:ext uri="{FF2B5EF4-FFF2-40B4-BE49-F238E27FC236}">
                <a16:creationId xmlns:a16="http://schemas.microsoft.com/office/drawing/2014/main" id="{E76F844F-5564-1345-8981-A242F2973E00}"/>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4" name="Прямоугольник 113">
            <a:extLst>
              <a:ext uri="{FF2B5EF4-FFF2-40B4-BE49-F238E27FC236}">
                <a16:creationId xmlns:a16="http://schemas.microsoft.com/office/drawing/2014/main" id="{DB9C625A-E503-9E4A-AB43-2EF34F6D846A}"/>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5" name="TextBox 114">
            <a:extLst>
              <a:ext uri="{FF2B5EF4-FFF2-40B4-BE49-F238E27FC236}">
                <a16:creationId xmlns:a16="http://schemas.microsoft.com/office/drawing/2014/main" id="{0687BB7F-1DA5-3E41-902D-693CFA51B675}"/>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5E525C3D-EBBD-1441-86AA-EB024CEC95EF}"/>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18" name="Прямоугольник 117">
            <a:extLst>
              <a:ext uri="{FF2B5EF4-FFF2-40B4-BE49-F238E27FC236}">
                <a16:creationId xmlns:a16="http://schemas.microsoft.com/office/drawing/2014/main" id="{6EE78AE9-3780-FC47-A744-2B9C9AFA3089}"/>
              </a:ext>
            </a:extLst>
          </p:cNvPr>
          <p:cNvSpPr/>
          <p:nvPr userDrawn="1"/>
        </p:nvSpPr>
        <p:spPr>
          <a:xfrm>
            <a:off x="0" y="3132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9" name="TextBox 118">
            <a:extLst>
              <a:ext uri="{FF2B5EF4-FFF2-40B4-BE49-F238E27FC236}">
                <a16:creationId xmlns:a16="http://schemas.microsoft.com/office/drawing/2014/main" id="{AD09A97B-2BE3-FE42-8498-EF01D31587D3}"/>
              </a:ext>
            </a:extLst>
          </p:cNvPr>
          <p:cNvSpPr txBox="1"/>
          <p:nvPr userDrawn="1"/>
        </p:nvSpPr>
        <p:spPr>
          <a:xfrm>
            <a:off x="604489" y="3232584"/>
            <a:ext cx="1439290" cy="230832"/>
          </a:xfrm>
          <a:prstGeom prst="rect">
            <a:avLst/>
          </a:prstGeom>
          <a:noFill/>
        </p:spPr>
        <p:txBody>
          <a:bodyPr wrap="square" rtlCol="0" anchor="ctr">
            <a:spAutoFit/>
          </a:bodyPr>
          <a:lstStyle/>
          <a:p>
            <a:r>
              <a:rPr lang="en-US" sz="900" b="1" dirty="0">
                <a:solidFill>
                  <a:schemeClr val="bg1"/>
                </a:solidFill>
              </a:rPr>
              <a:t>Risk Model Governance</a:t>
            </a:r>
            <a:endParaRPr lang="ru-RU" sz="900" b="1" dirty="0">
              <a:solidFill>
                <a:schemeClr val="bg1"/>
              </a:solidFill>
            </a:endParaRPr>
          </a:p>
        </p:txBody>
      </p:sp>
      <p:pic>
        <p:nvPicPr>
          <p:cNvPr id="120" name="Рисунок 119">
            <a:extLst>
              <a:ext uri="{FF2B5EF4-FFF2-40B4-BE49-F238E27FC236}">
                <a16:creationId xmlns:a16="http://schemas.microsoft.com/office/drawing/2014/main" id="{CE46A9A9-290E-BC42-9307-3B40C5B3FCC4}"/>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3204000"/>
            <a:ext cx="288000" cy="288000"/>
          </a:xfrm>
          <a:prstGeom prst="rect">
            <a:avLst/>
          </a:prstGeom>
        </p:spPr>
      </p:pic>
      <p:sp>
        <p:nvSpPr>
          <p:cNvPr id="53" name="Прямоугольник 52">
            <a:extLst>
              <a:ext uri="{FF2B5EF4-FFF2-40B4-BE49-F238E27FC236}">
                <a16:creationId xmlns:a16="http://schemas.microsoft.com/office/drawing/2014/main" id="{266067B0-98C7-0C40-9B68-5FEF8CF4E4A9}"/>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4EDD57E6-3614-B643-A15B-C2B609709B6F}"/>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26912604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9_Риски банковской книги">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61B071F3-E6B3-AD47-BAE4-1BBEB00D4A46}"/>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298FE323-8D2D-3D48-8036-B820C5702469}"/>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59C9967D-7B7B-CE42-9677-15C45E0B7E51}"/>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AEB9AA03-C67F-4C49-A467-C7350AE70F66}"/>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E9F901A4-D06C-5B49-A7D5-11912476F437}"/>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255E3E25-54AA-0946-9006-A5F0DB72EDC1}"/>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DDF0DAF-A7A0-9548-9A69-55ACB13BED68}"/>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3DAF813C-049E-7C4E-BA9C-3BA22F220F90}"/>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F645EB29-CF73-6F40-8C31-8ED18C2A5DFC}"/>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5ECE37BF-330B-7843-8F9E-4A439DE2F5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D3EC034A-EE51-F840-8DAB-31295FFBB307}"/>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6F859796-A85A-2C4C-8787-6B4BC22904F0}"/>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E2F73188-F50B-3B4D-A474-49B427F981A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10908FF4-6CF8-7140-A39D-EE986E311588}"/>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54DFC96C-407F-6B46-8B7B-612D03252815}"/>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7787A5A7-6B17-0D41-88C9-ECBED0EFD8C1}"/>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FC2D9986-7196-6F4A-94E5-08ACDF49AC30}"/>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AE8AEDD7-63D2-944F-9693-6984D9E67FB8}"/>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E5635579-B3E2-E84A-8813-C38A647401AA}"/>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9E8A4140-4E20-0F4B-86D3-BF98DC0322CE}"/>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36C20C6E-CE21-544D-AC18-02C272A1CB81}"/>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7525EA5B-BA25-8C4E-8381-39D1B672F0C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80" name="Прямоугольник 79">
            <a:extLst>
              <a:ext uri="{FF2B5EF4-FFF2-40B4-BE49-F238E27FC236}">
                <a16:creationId xmlns:a16="http://schemas.microsoft.com/office/drawing/2014/main" id="{269F2883-6620-A04F-B070-B3E3F2B5368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1DCB1731-C13F-044B-BC0A-FC73796641A2}"/>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FA685393-470B-E243-AC88-A89359FE2E6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6D012497-03A2-FA4D-AC60-F34CAC9A83F3}"/>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20BE37FC-D144-F845-BAEF-F17E2DB59E1F}"/>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99E12506-A0D4-DD4F-80BB-36E2056F79DC}"/>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6EDA0061-54E4-6147-9FAD-70B1F14DF0EE}"/>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632DC11B-85E8-D346-B0E3-F490FE2499FA}"/>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1E07DEB1-4527-5A49-9127-4F8EB6658E66}"/>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7CC83E88-7784-524D-8522-22CEAFA0A234}"/>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5CA7542D-6FEA-0341-874B-50898F2B300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2D2798E8-1A91-1E42-9B4D-8F35FF4D986C}"/>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C3230ED5-8618-434F-A316-9A6AB636D05E}"/>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6EB954CB-4F05-D440-8BD0-5939F7C996D0}"/>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439925EA-EA35-8D4F-9404-3D09E9F44B66}"/>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8293CB9F-6534-D04B-8F89-385009CF4941}"/>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6DB5FFA6-B31E-A64A-BD4F-574F388CF8B0}"/>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CB95C2AE-4550-4C4B-89CD-4FE06835C105}"/>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C9B623ED-4908-EE48-86D7-F15BAB8A986C}"/>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9303BDFE-F0E4-9544-B95B-1A177FB903EC}"/>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5" name="Рисунок 114">
            <a:extLst>
              <a:ext uri="{FF2B5EF4-FFF2-40B4-BE49-F238E27FC236}">
                <a16:creationId xmlns:a16="http://schemas.microsoft.com/office/drawing/2014/main" id="{4A49ABF8-3FD3-684A-84DE-33B5A5E8CD59}"/>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6" name="Прямоугольник 115">
            <a:extLst>
              <a:ext uri="{FF2B5EF4-FFF2-40B4-BE49-F238E27FC236}">
                <a16:creationId xmlns:a16="http://schemas.microsoft.com/office/drawing/2014/main" id="{A1EA0194-D586-EC4F-B7B7-849E4E4018C3}"/>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B9E07F0B-4DE8-E04E-B243-5D80B447F014}"/>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F8ED6556-3035-FF4F-903B-C7FF124ABC9D}"/>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36" name="Прямоугольник 135">
            <a:extLst>
              <a:ext uri="{FF2B5EF4-FFF2-40B4-BE49-F238E27FC236}">
                <a16:creationId xmlns:a16="http://schemas.microsoft.com/office/drawing/2014/main" id="{D8B42A99-9082-7442-A2A4-B0776AB9F6BE}"/>
              </a:ext>
            </a:extLst>
          </p:cNvPr>
          <p:cNvSpPr/>
          <p:nvPr userDrawn="1"/>
        </p:nvSpPr>
        <p:spPr>
          <a:xfrm>
            <a:off x="0" y="3564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7" name="TextBox 136">
            <a:extLst>
              <a:ext uri="{FF2B5EF4-FFF2-40B4-BE49-F238E27FC236}">
                <a16:creationId xmlns:a16="http://schemas.microsoft.com/office/drawing/2014/main" id="{AD0AD8B4-7729-A34A-A1C4-DD9CD2637F9D}"/>
              </a:ext>
            </a:extLst>
          </p:cNvPr>
          <p:cNvSpPr txBox="1"/>
          <p:nvPr userDrawn="1"/>
        </p:nvSpPr>
        <p:spPr>
          <a:xfrm>
            <a:off x="604489" y="3664584"/>
            <a:ext cx="1439290" cy="230832"/>
          </a:xfrm>
          <a:prstGeom prst="rect">
            <a:avLst/>
          </a:prstGeom>
          <a:noFill/>
        </p:spPr>
        <p:txBody>
          <a:bodyPr wrap="square" rtlCol="0" anchor="ctr">
            <a:spAutoFit/>
          </a:bodyPr>
          <a:lstStyle/>
          <a:p>
            <a:r>
              <a:rPr lang="ru-RU" sz="900" b="1" dirty="0">
                <a:solidFill>
                  <a:schemeClr val="bg1"/>
                </a:solidFill>
              </a:rPr>
              <a:t>Риски банковской книги</a:t>
            </a:r>
          </a:p>
        </p:txBody>
      </p:sp>
      <p:pic>
        <p:nvPicPr>
          <p:cNvPr id="139" name="Рисунок 138">
            <a:extLst>
              <a:ext uri="{FF2B5EF4-FFF2-40B4-BE49-F238E27FC236}">
                <a16:creationId xmlns:a16="http://schemas.microsoft.com/office/drawing/2014/main" id="{0351012D-5C43-AD41-A3DB-78D00F665180}"/>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3636000"/>
            <a:ext cx="288000" cy="288000"/>
          </a:xfrm>
          <a:prstGeom prst="rect">
            <a:avLst/>
          </a:prstGeom>
        </p:spPr>
      </p:pic>
      <p:sp>
        <p:nvSpPr>
          <p:cNvPr id="53" name="Прямоугольник 52">
            <a:extLst>
              <a:ext uri="{FF2B5EF4-FFF2-40B4-BE49-F238E27FC236}">
                <a16:creationId xmlns:a16="http://schemas.microsoft.com/office/drawing/2014/main" id="{6E0E23FB-CF49-1043-A060-4E08E0B12E54}"/>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CF70038F-96A2-4948-9780-9AA95367092E}"/>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6639112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0_Операционный риск">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E9C31441-7FC4-4A4B-AE01-2068FD2A6E7E}"/>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CCE1108E-E08F-6D49-9964-3B0F7493C2A1}"/>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8142E925-CA77-B544-BD9A-E1C6BB14A14B}"/>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E9EC314D-D616-5242-AE09-6D30F714ED15}"/>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DDA2D573-1833-D74D-B1E0-341F0AB846C7}"/>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25A24519-AA85-1C4D-AE4C-C4B08A73D295}"/>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A3DAB09-6C2F-0746-8876-F91EDC660B1B}"/>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3AE2A4EA-E8EB-9348-A94C-3E2E9229798C}"/>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DB5A8C7F-612B-1C48-90BF-49AA6C5EB3DA}"/>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682C48FB-794F-B347-8066-A14B56E96BD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8393DD1D-E51D-574D-A6EF-3ACB8EB3B8C5}"/>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ACA933D7-44B0-4346-834C-21749BBF9E1C}"/>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F2FBF4CE-A550-0A4C-933D-28D6FAA54D3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303CF636-4B75-7E41-8078-D84C0763D1AD}"/>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26344617-29E4-8E43-9D91-FA352AC6BAA4}"/>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9E74D18B-7351-FF4A-928E-3BB108009CF7}"/>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4B864E8E-E913-C245-AE55-6D29E2ECD823}"/>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189EB07B-8D96-A04C-853B-BF94A15BF7FD}"/>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259D71A1-692C-854D-AB6F-E9AB3C0E79CD}"/>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F74DE3F5-588D-3B47-9673-90E75D55A6CD}"/>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A6F93427-5A6D-514A-BB06-5D3D0AB404E9}"/>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B3E49339-BD5C-284F-8969-79024C6F77F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DB8D2CC8-FA76-FE42-B334-0430A7292D4D}"/>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58EE1E99-AE7D-344E-BBEB-974669F2E605}"/>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FE8FA1EC-C60B-1B47-96EA-BCE7E03BBB5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3" name="Прямоугольник 82">
            <a:extLst>
              <a:ext uri="{FF2B5EF4-FFF2-40B4-BE49-F238E27FC236}">
                <a16:creationId xmlns:a16="http://schemas.microsoft.com/office/drawing/2014/main" id="{9E8653EA-46BE-5C4B-8CD7-497306B2A12D}"/>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88AF99F8-430E-7A43-9791-9E06C324FD64}"/>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1088FF95-C4CC-6E4C-89DC-E78C0C6C494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F8288506-A838-5749-80F0-6D577AFE2895}"/>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FC7182FB-A685-8448-B0C1-C6B991C7DAF4}"/>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4B82E4B4-06F8-EC4F-B91B-A3EF5A45DD7F}"/>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3BED6FCD-AED3-7347-BAC8-7D7E331CF0D8}"/>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9B608CB1-BD58-F349-9A4D-353BB4852B7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40AF5F82-FAB8-624F-B094-54898C888D45}"/>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C4D1CBA8-BA60-C44C-9E84-87BF102D5A75}"/>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DB0AD7E1-43EA-4642-9A0A-8F7230BE6EE4}"/>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C231BD2E-5D40-E14A-BFB5-BBF169E22C8F}"/>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0DD66B27-C38C-9C40-89D3-8758745FB387}"/>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0BFC4597-AEB9-B843-88D6-C28DC570D5A6}"/>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24F228E7-7490-A949-B3CD-587E93BC5C85}"/>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D0F91B22-2C86-2245-B463-396CF9BA9F83}"/>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B5556E0B-E6CA-AB45-939A-FA68DDE03391}"/>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5" name="Рисунок 114">
            <a:extLst>
              <a:ext uri="{FF2B5EF4-FFF2-40B4-BE49-F238E27FC236}">
                <a16:creationId xmlns:a16="http://schemas.microsoft.com/office/drawing/2014/main" id="{274CDDEE-AF1D-264F-8DFF-43651BACFEBC}"/>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6" name="Прямоугольник 115">
            <a:extLst>
              <a:ext uri="{FF2B5EF4-FFF2-40B4-BE49-F238E27FC236}">
                <a16:creationId xmlns:a16="http://schemas.microsoft.com/office/drawing/2014/main" id="{792337D8-3D1E-1C4D-8AF1-9D9CC533ED7F}"/>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9C742A40-08FD-544E-9D77-034AA3C66F00}"/>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A2BE3565-03C2-B743-97E6-79420425830E}"/>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57" name="Прямоугольник 156">
            <a:extLst>
              <a:ext uri="{FF2B5EF4-FFF2-40B4-BE49-F238E27FC236}">
                <a16:creationId xmlns:a16="http://schemas.microsoft.com/office/drawing/2014/main" id="{6B17A399-05CC-B345-B826-6997E367192F}"/>
              </a:ext>
            </a:extLst>
          </p:cNvPr>
          <p:cNvSpPr/>
          <p:nvPr userDrawn="1"/>
        </p:nvSpPr>
        <p:spPr>
          <a:xfrm>
            <a:off x="0" y="3996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6" name="TextBox 165">
            <a:extLst>
              <a:ext uri="{FF2B5EF4-FFF2-40B4-BE49-F238E27FC236}">
                <a16:creationId xmlns:a16="http://schemas.microsoft.com/office/drawing/2014/main" id="{99660414-4303-B54D-A661-2504F446609B}"/>
              </a:ext>
            </a:extLst>
          </p:cNvPr>
          <p:cNvSpPr txBox="1"/>
          <p:nvPr userDrawn="1"/>
        </p:nvSpPr>
        <p:spPr>
          <a:xfrm>
            <a:off x="604489" y="4096584"/>
            <a:ext cx="1439290" cy="230832"/>
          </a:xfrm>
          <a:prstGeom prst="rect">
            <a:avLst/>
          </a:prstGeom>
          <a:noFill/>
        </p:spPr>
        <p:txBody>
          <a:bodyPr wrap="square" rtlCol="0" anchor="ctr">
            <a:spAutoFit/>
          </a:bodyPr>
          <a:lstStyle/>
          <a:p>
            <a:r>
              <a:rPr lang="en-US" sz="900" b="1" dirty="0" err="1">
                <a:solidFill>
                  <a:schemeClr val="bg1"/>
                </a:solidFill>
              </a:rPr>
              <a:t>Опер</a:t>
            </a:r>
            <a:r>
              <a:rPr lang="ru-RU" sz="900" b="1" dirty="0" err="1">
                <a:solidFill>
                  <a:schemeClr val="bg1"/>
                </a:solidFill>
              </a:rPr>
              <a:t>ационный</a:t>
            </a:r>
            <a:r>
              <a:rPr lang="ru-RU" sz="900" b="1" dirty="0">
                <a:solidFill>
                  <a:schemeClr val="bg1"/>
                </a:solidFill>
              </a:rPr>
              <a:t> риск</a:t>
            </a:r>
          </a:p>
        </p:txBody>
      </p:sp>
      <p:pic>
        <p:nvPicPr>
          <p:cNvPr id="167" name="Рисунок 166">
            <a:extLst>
              <a:ext uri="{FF2B5EF4-FFF2-40B4-BE49-F238E27FC236}">
                <a16:creationId xmlns:a16="http://schemas.microsoft.com/office/drawing/2014/main" id="{B4BD463B-56FD-034E-9BEF-13D9992666DD}"/>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4068000"/>
            <a:ext cx="288000" cy="288000"/>
          </a:xfrm>
          <a:prstGeom prst="rect">
            <a:avLst/>
          </a:prstGeom>
        </p:spPr>
      </p:pic>
      <p:sp>
        <p:nvSpPr>
          <p:cNvPr id="53" name="Прямоугольник 52">
            <a:extLst>
              <a:ext uri="{FF2B5EF4-FFF2-40B4-BE49-F238E27FC236}">
                <a16:creationId xmlns:a16="http://schemas.microsoft.com/office/drawing/2014/main" id="{AEA645F3-476C-BF45-88FF-38737F83D39A}"/>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899A8571-728B-6F4E-8C6A-B780FEBB36F2}"/>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23577170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1_Технориск">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606A5973-E1FB-6343-B2A2-9B3904BF53AC}"/>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3783C100-F621-8448-98BD-5341ADDE5A55}"/>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E4314CFC-57E4-4246-9985-B70F31865B02}"/>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05ACD35C-BFE5-3045-882F-4621C05CC5B3}"/>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C88ACBE3-625F-024E-9F3F-5C538608A190}"/>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35F08ED0-6400-404C-9BC7-CD726669A5D5}"/>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6BF326A-6920-0642-BD58-09D12855C5E4}"/>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413A3CE1-53AA-5B44-A0D9-15C752FBB20D}"/>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C84B67EC-B010-AF40-83A8-749BB371B797}"/>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F4DEA0AF-238F-5D40-93D9-F6D1E3989FC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DD73986E-CD06-BD4B-9B31-465154285DB8}"/>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654BE9EB-78C4-4141-AA87-F04DFF1B4766}"/>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5225E38B-42E8-A04B-93FF-3701BD280E7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3811E934-E170-D84B-AFFB-85A1C9694BAD}"/>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B9725CDF-46D1-2C4E-8BC2-2580850134F3}"/>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56EC3407-22ED-584B-ABC6-03FD2A4C76A8}"/>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D803334C-EC96-6D41-81AD-F5B3F3CAE47E}"/>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FDE3FC6E-5E00-1740-A9D4-20D7E031F003}"/>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DABBFE6B-8903-3543-A03A-97123655F653}"/>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7" name="Прямоугольник 76">
            <a:extLst>
              <a:ext uri="{FF2B5EF4-FFF2-40B4-BE49-F238E27FC236}">
                <a16:creationId xmlns:a16="http://schemas.microsoft.com/office/drawing/2014/main" id="{DAF8D8B7-D595-A441-8800-9AC0A107C344}"/>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225A1654-BE40-2F46-A578-B38DA54B05D1}"/>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F1C1DF63-9D29-4148-84DD-276A9780388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E80A66D1-FF98-EA41-A4DA-8C1FCE9969E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3B851A89-FE61-3941-95CF-79C4B0E2C391}"/>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0E9E1BC3-F18C-0547-BC6F-F156910E992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5B7E63ED-6809-854D-8906-30E32AAAC713}"/>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245E8007-A280-D741-84E9-202C006BCD7F}"/>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37B7EDBF-3A03-064F-B466-00C5CB0EA778}"/>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5B623FB5-340A-D043-ABBF-C042885296AC}"/>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92522FE4-E6A2-9549-B762-8BD9E3C1ADF4}"/>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03480538-E58F-B040-BA72-06E3C9D018BB}"/>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8AF3D0ED-3608-B845-89B0-E519D96B52FF}"/>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3F086E6D-9CEF-1943-8EB6-CDCAE5FD1831}"/>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287D5406-49DF-0D44-A60E-D2B1A041EFF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20454DE3-5170-BD46-84BC-F925DA91F6AA}"/>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8D772069-8FAA-CF44-9637-531A4CA86193}"/>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7EF417D8-5308-DB41-80EE-42E916B88F0C}"/>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E8F3EF92-DFF3-114A-BA1C-E62268579C47}"/>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EA3D4D4C-E81E-8D4C-86CD-30EDB288119D}"/>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A727FACD-30C0-6C4C-AB05-FF6AFACFAE8A}"/>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BC3D4A6E-D280-974E-93AB-07A1AC50F334}"/>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DB48D890-2B25-2740-81DF-206167B01EE7}"/>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5" name="Рисунок 114">
            <a:extLst>
              <a:ext uri="{FF2B5EF4-FFF2-40B4-BE49-F238E27FC236}">
                <a16:creationId xmlns:a16="http://schemas.microsoft.com/office/drawing/2014/main" id="{38B9FAFE-19BB-C54D-A53E-2772D4C39E63}"/>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6" name="Прямоугольник 115">
            <a:extLst>
              <a:ext uri="{FF2B5EF4-FFF2-40B4-BE49-F238E27FC236}">
                <a16:creationId xmlns:a16="http://schemas.microsoft.com/office/drawing/2014/main" id="{79E6275C-A566-494A-8983-922944CCF1DA}"/>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C40314CC-CA7E-9342-9A89-128A9BD55987}"/>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A6ED333C-DED5-A44B-B54B-8D1BDE379109}"/>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33" name="Прямоугольник 132">
            <a:extLst>
              <a:ext uri="{FF2B5EF4-FFF2-40B4-BE49-F238E27FC236}">
                <a16:creationId xmlns:a16="http://schemas.microsoft.com/office/drawing/2014/main" id="{8698AEE8-07F5-AD46-A1BF-207727E18E2F}"/>
              </a:ext>
            </a:extLst>
          </p:cNvPr>
          <p:cNvSpPr/>
          <p:nvPr userDrawn="1"/>
        </p:nvSpPr>
        <p:spPr>
          <a:xfrm>
            <a:off x="0" y="4428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4" name="TextBox 133">
            <a:extLst>
              <a:ext uri="{FF2B5EF4-FFF2-40B4-BE49-F238E27FC236}">
                <a16:creationId xmlns:a16="http://schemas.microsoft.com/office/drawing/2014/main" id="{2464FA7F-5C35-B844-9D28-BD3466BF6760}"/>
              </a:ext>
            </a:extLst>
          </p:cNvPr>
          <p:cNvSpPr txBox="1"/>
          <p:nvPr userDrawn="1"/>
        </p:nvSpPr>
        <p:spPr>
          <a:xfrm>
            <a:off x="604489" y="4528584"/>
            <a:ext cx="1439290" cy="230832"/>
          </a:xfrm>
          <a:prstGeom prst="rect">
            <a:avLst/>
          </a:prstGeom>
          <a:noFill/>
        </p:spPr>
        <p:txBody>
          <a:bodyPr wrap="square" rtlCol="0" anchor="ctr">
            <a:spAutoFit/>
          </a:bodyPr>
          <a:lstStyle/>
          <a:p>
            <a:r>
              <a:rPr lang="ru-RU" sz="900" b="1" dirty="0" err="1">
                <a:solidFill>
                  <a:schemeClr val="bg1"/>
                </a:solidFill>
              </a:rPr>
              <a:t>Технориск</a:t>
            </a:r>
            <a:endParaRPr lang="ru-RU" sz="900" b="1" dirty="0">
              <a:solidFill>
                <a:schemeClr val="bg1"/>
              </a:solidFill>
            </a:endParaRPr>
          </a:p>
        </p:txBody>
      </p:sp>
      <p:pic>
        <p:nvPicPr>
          <p:cNvPr id="135" name="Рисунок 134">
            <a:extLst>
              <a:ext uri="{FF2B5EF4-FFF2-40B4-BE49-F238E27FC236}">
                <a16:creationId xmlns:a16="http://schemas.microsoft.com/office/drawing/2014/main" id="{BBB5565E-948E-104F-9606-42DC805C28EA}"/>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4500000"/>
            <a:ext cx="288000" cy="288000"/>
          </a:xfrm>
          <a:prstGeom prst="rect">
            <a:avLst/>
          </a:prstGeom>
        </p:spPr>
      </p:pic>
      <p:sp>
        <p:nvSpPr>
          <p:cNvPr id="53" name="Прямоугольник 52">
            <a:extLst>
              <a:ext uri="{FF2B5EF4-FFF2-40B4-BE49-F238E27FC236}">
                <a16:creationId xmlns:a16="http://schemas.microsoft.com/office/drawing/2014/main" id="{342174A1-8970-704E-AD85-5C0128E7287A}"/>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90D481EC-C8E6-FC4B-9B29-8D5AB85A65E7}"/>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27360100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2_Пруденциальный офис">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00F14878-52FE-C14C-B62D-1C8B104F7D17}"/>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0A92D1BC-D859-EE4F-8EFD-E6F935877EE7}"/>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66867703-5CDC-7045-B3A4-926899885122}"/>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715FB74A-1322-0946-BE67-289FE6E3BF5E}"/>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699922F4-567E-2C42-ACDD-CF227D632495}"/>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7C69FE4C-A692-4A46-B897-792F396A8BB0}"/>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3944FB49-B898-B54B-998D-4D1237295EF7}"/>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074EECD0-60F2-D848-9D33-BD1387274114}"/>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E7F20629-0A4E-1944-A45F-E354C5F637B5}"/>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E9EEB63A-2D1B-2947-9372-8F0D5277AF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12AA23C8-EFB5-B944-932B-1707D59EFCA8}"/>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79F48A4A-69A2-2E4F-A3F6-7AE740E2ACF4}"/>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8F2875DB-4C57-984C-AE3E-C5A6B1C495A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A2CD7F1A-5C4E-0D4B-9D64-6DA00F14177F}"/>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C090EB19-8E89-0346-8219-A7A6EBDD8A67}"/>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4C9AA5DB-4ED7-4444-982F-082B209C6EB4}"/>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5B7492B3-F681-C142-ADBB-0ACEE3AF2F1A}"/>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EA9023BB-21EF-984B-8D1A-CB659AE7EB49}"/>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BAD440AD-F090-4548-9DB3-1F451AD4F5BB}"/>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576B02BE-49AB-DF4B-A91F-95AA0CF289D2}"/>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1CA1965D-B47A-1D47-BE90-20187E7D0785}"/>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A690137-03A6-8D4C-9E66-6F0CEBBF101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D512B2A4-AEF6-BF40-83EF-75BDBAD34B62}"/>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A3F5B022-42D3-E349-8EDD-E4AA4337D641}"/>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5D658C24-C274-DB42-9759-0EFE513484E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B934A77C-6E45-C344-831C-A1CAC0E6FD9E}"/>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8F3497B0-B6C5-1F4D-9972-F2292CFFDF42}"/>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CBC08DF6-A81B-C64F-8AC9-0BCE3CA5EDDC}"/>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607209A4-848B-2048-94EF-A51D1AA1C2EF}"/>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73D86FF9-BBA4-954E-B9A9-7500D3BAE92E}"/>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9598EDA3-86DB-1546-BD7F-47527609049A}"/>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9" name="Прямоугольник 88">
            <a:extLst>
              <a:ext uri="{FF2B5EF4-FFF2-40B4-BE49-F238E27FC236}">
                <a16:creationId xmlns:a16="http://schemas.microsoft.com/office/drawing/2014/main" id="{88095419-E4A8-D64D-B040-C1DF495067F5}"/>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4DAAF373-634A-B947-B3E1-5CEBF04C1BD5}"/>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4E69148E-D662-5243-AC7A-FA4A26BE2B7B}"/>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8E6F6527-41D6-5842-8A44-5ED022DCDDAF}"/>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8A7636A2-37F5-CB41-81A7-B84941710A80}"/>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940D1CDE-4F3C-B749-A823-EFE7727AF511}"/>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65E8F1D7-6635-1A43-B0AB-C23B41D2210E}"/>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0DE0CAF8-8D5D-6747-9943-47E75104E8D8}"/>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0DFC8A2B-7A95-3046-AD90-BD67427DFC1B}"/>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2DDC1DB2-1DB4-D540-8642-4377F7AD71EB}"/>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E37454C2-69EB-834E-BC98-61EBE73D014E}"/>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5" name="Рисунок 114">
            <a:extLst>
              <a:ext uri="{FF2B5EF4-FFF2-40B4-BE49-F238E27FC236}">
                <a16:creationId xmlns:a16="http://schemas.microsoft.com/office/drawing/2014/main" id="{6D125400-1525-BF40-99F6-9F5F1C32022F}"/>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6" name="Прямоугольник 115">
            <a:extLst>
              <a:ext uri="{FF2B5EF4-FFF2-40B4-BE49-F238E27FC236}">
                <a16:creationId xmlns:a16="http://schemas.microsoft.com/office/drawing/2014/main" id="{19201046-CAFC-7045-A66E-FFE9F10B8956}"/>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99F22089-BBD0-4746-A275-61D5328DEDDC}"/>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F113337D-7B5E-A34D-A1DC-082DDDD5DD2D}"/>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77" name="Прямоугольник 176">
            <a:extLst>
              <a:ext uri="{FF2B5EF4-FFF2-40B4-BE49-F238E27FC236}">
                <a16:creationId xmlns:a16="http://schemas.microsoft.com/office/drawing/2014/main" id="{781C25FF-34AA-9841-8B34-16E32D5BB5D4}"/>
              </a:ext>
            </a:extLst>
          </p:cNvPr>
          <p:cNvSpPr/>
          <p:nvPr userDrawn="1"/>
        </p:nvSpPr>
        <p:spPr>
          <a:xfrm>
            <a:off x="0" y="4860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8" name="TextBox 177">
            <a:extLst>
              <a:ext uri="{FF2B5EF4-FFF2-40B4-BE49-F238E27FC236}">
                <a16:creationId xmlns:a16="http://schemas.microsoft.com/office/drawing/2014/main" id="{221BAAC2-B73A-854C-8E71-157064C02D52}"/>
              </a:ext>
            </a:extLst>
          </p:cNvPr>
          <p:cNvSpPr txBox="1"/>
          <p:nvPr userDrawn="1"/>
        </p:nvSpPr>
        <p:spPr>
          <a:xfrm>
            <a:off x="604489" y="4960584"/>
            <a:ext cx="1439290" cy="230832"/>
          </a:xfrm>
          <a:prstGeom prst="rect">
            <a:avLst/>
          </a:prstGeom>
          <a:noFill/>
        </p:spPr>
        <p:txBody>
          <a:bodyPr wrap="square" rtlCol="0" anchor="ctr">
            <a:spAutoFit/>
          </a:bodyPr>
          <a:lstStyle/>
          <a:p>
            <a:r>
              <a:rPr lang="ru-RU" sz="900" b="1" dirty="0">
                <a:solidFill>
                  <a:schemeClr val="bg1"/>
                </a:solidFill>
              </a:rPr>
              <a:t>Пруденциальный офис</a:t>
            </a:r>
          </a:p>
        </p:txBody>
      </p:sp>
      <p:pic>
        <p:nvPicPr>
          <p:cNvPr id="179" name="Рисунок 178">
            <a:extLst>
              <a:ext uri="{FF2B5EF4-FFF2-40B4-BE49-F238E27FC236}">
                <a16:creationId xmlns:a16="http://schemas.microsoft.com/office/drawing/2014/main" id="{A811AA2B-B0DE-1C40-A616-F8143864F4ED}"/>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171523" y="4932000"/>
            <a:ext cx="288000" cy="288000"/>
          </a:xfrm>
          <a:prstGeom prst="rect">
            <a:avLst/>
          </a:prstGeom>
        </p:spPr>
      </p:pic>
      <p:sp>
        <p:nvSpPr>
          <p:cNvPr id="53" name="Прямоугольник 52">
            <a:extLst>
              <a:ext uri="{FF2B5EF4-FFF2-40B4-BE49-F238E27FC236}">
                <a16:creationId xmlns:a16="http://schemas.microsoft.com/office/drawing/2014/main" id="{E8534B8E-5B96-DE4E-BBE2-65CBE8F6DD7C}"/>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E42ABF7C-14D2-C34E-8DBC-9837177C3A5D}"/>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14755710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727696" y="6126266"/>
            <a:ext cx="521496" cy="365125"/>
          </a:xfrm>
          <a:prstGeom prst="rect">
            <a:avLst/>
          </a:prstGeom>
        </p:spPr>
        <p:txBody>
          <a:bodyPr/>
          <a:lstStyle/>
          <a:p>
            <a:fld id="{054C8753-49EE-4AA4-B7F7-004F2534EA1E}" type="slidenum">
              <a:rPr lang="ru-RU" smtClean="0"/>
              <a:pPr/>
              <a:t>‹#›</a:t>
            </a:fld>
            <a:endParaRPr lang="ru-RU" dirty="0"/>
          </a:p>
        </p:txBody>
      </p:sp>
      <p:pic>
        <p:nvPicPr>
          <p:cNvPr id="3" name="Рисунок 2" descr="http://93A7C4B339CCDD211E158032049A3A49.dms.sberbank.ru/93A7C4B339CCDD211E158032049A3A49-048609E64F524779FACC06A290525D57-028113238EC6D8AC5E862ACF66077798/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378299035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3_ИТ-внедрения">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DDFFA306-4E15-E949-9709-F8153EE88F42}"/>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84988645-5DB7-DE46-AA2C-D6394E2333C6}"/>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1DACB476-9A9C-CE43-AAA2-1C3E85359649}"/>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3204DC8C-00D6-CC4B-A90F-B012B8D42D31}"/>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A5BD6F3C-8579-9A4F-97F1-221D0CC58B01}"/>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F76CE5E0-D155-3142-82A9-31F639B10BE2}"/>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9AC2FCB7-455D-3846-AF00-6309D169CDEB}"/>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9E87F866-470E-C145-8842-311DD7F7B35F}"/>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5C7FB279-F2D3-714E-92ED-F0026C26782C}"/>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32E4F3A8-C78F-1048-8D1F-92684DD8BF3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3EABC97C-9CA4-8E45-81FE-30AD7798833D}"/>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ED815AFE-15DA-324F-ADD8-E2339785B335}"/>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1B65C54A-16FA-FE4B-95D2-203E345C1B9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1086753F-AFC5-FC4E-92BC-786E7B3F4B79}"/>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B86FA67C-29F4-604E-8A62-5D634E81B9DE}"/>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A2C03665-9F07-7644-86E8-F2F1D9EC2206}"/>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7579A64F-3789-7644-BF39-7666B0F9017C}"/>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F252FDBC-7306-B944-9A3A-6B1EC16C21DA}"/>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55B5BA8A-6484-194C-AE62-FDDAFE2F13C6}"/>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3BF7AAB1-4487-A640-8100-04A90A7FBCED}"/>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F9EE6884-3EF7-7D49-A06B-796FD72261B0}"/>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47ECFC8-1380-4044-89EB-F729E5ED6AD7}"/>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5E0368B5-7EC1-9441-B9DA-57F07877F1FA}"/>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D233AE29-F3C8-B346-BEA2-1292D0F9D499}"/>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B36C9A63-1EE0-1442-A27C-73DC0FE2A26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D5F8CEF5-E90A-6446-B143-4CBE695E90E5}"/>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11AA4665-BE6E-6544-A2E3-8ACDFA32037F}"/>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767BE6A3-B4CE-8D46-82FD-66A60F6FAC62}"/>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3303DB7D-72DB-D445-A492-293F5CF0CB60}"/>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0EC0FF97-4FB9-8F42-AC0D-77CBEFCB5F80}"/>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08C060D3-1ABB-954D-9DE4-DB091D876572}"/>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DA358D83-886A-D54D-9290-396D66205888}"/>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C27ECD3D-559B-CA45-B98E-E5DB0A983AD6}"/>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FCC4A12B-BBB2-7E4B-8C9D-3B3F9D67365A}"/>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20D4FFB4-007A-B44A-8698-D43D037B3515}"/>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 name="TextBox 99">
            <a:extLst>
              <a:ext uri="{FF2B5EF4-FFF2-40B4-BE49-F238E27FC236}">
                <a16:creationId xmlns:a16="http://schemas.microsoft.com/office/drawing/2014/main" id="{879D4E54-1AAB-F842-84E1-7B3E1BCF8A8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1" name="Рисунок 100">
            <a:extLst>
              <a:ext uri="{FF2B5EF4-FFF2-40B4-BE49-F238E27FC236}">
                <a16:creationId xmlns:a16="http://schemas.microsoft.com/office/drawing/2014/main" id="{9F6E8E67-2134-6746-9960-67133E72DEF9}"/>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C7B065E1-3737-DA47-A21A-8C04F014A130}"/>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A2EB8D49-44A1-4A4F-A665-A3344CAA3365}"/>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09" name="Рисунок 108">
            <a:extLst>
              <a:ext uri="{FF2B5EF4-FFF2-40B4-BE49-F238E27FC236}">
                <a16:creationId xmlns:a16="http://schemas.microsoft.com/office/drawing/2014/main" id="{0A91E382-6A64-AB4E-BAB2-F264BD0B22C0}"/>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0" name="Прямоугольник 109">
            <a:extLst>
              <a:ext uri="{FF2B5EF4-FFF2-40B4-BE49-F238E27FC236}">
                <a16:creationId xmlns:a16="http://schemas.microsoft.com/office/drawing/2014/main" id="{D7B5DFA6-8E5D-4142-9A69-DBAB5A845C87}"/>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C05285A9-C78B-CA4F-B15E-86EC9B34D6BE}"/>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2" name="Рисунок 111">
            <a:extLst>
              <a:ext uri="{FF2B5EF4-FFF2-40B4-BE49-F238E27FC236}">
                <a16:creationId xmlns:a16="http://schemas.microsoft.com/office/drawing/2014/main" id="{E9E2D4E6-5E28-944A-A33C-6B1997C10EEA}"/>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3" name="Прямоугольник 112">
            <a:extLst>
              <a:ext uri="{FF2B5EF4-FFF2-40B4-BE49-F238E27FC236}">
                <a16:creationId xmlns:a16="http://schemas.microsoft.com/office/drawing/2014/main" id="{BAB6EAD4-0B11-C842-BEB6-C727F45B5F9A}"/>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6884F00B-B497-4F4D-98B5-140F57BB5F00}"/>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5" name="Рисунок 114">
            <a:extLst>
              <a:ext uri="{FF2B5EF4-FFF2-40B4-BE49-F238E27FC236}">
                <a16:creationId xmlns:a16="http://schemas.microsoft.com/office/drawing/2014/main" id="{B2CFEE18-0D9B-604A-B78B-3204A7CEC07C}"/>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85" name="Прямоугольник 184">
            <a:extLst>
              <a:ext uri="{FF2B5EF4-FFF2-40B4-BE49-F238E27FC236}">
                <a16:creationId xmlns:a16="http://schemas.microsoft.com/office/drawing/2014/main" id="{890AE502-6D2D-9840-AA20-BE4F59893916}"/>
              </a:ext>
            </a:extLst>
          </p:cNvPr>
          <p:cNvSpPr/>
          <p:nvPr userDrawn="1"/>
        </p:nvSpPr>
        <p:spPr>
          <a:xfrm>
            <a:off x="0" y="5292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6" name="TextBox 185">
            <a:extLst>
              <a:ext uri="{FF2B5EF4-FFF2-40B4-BE49-F238E27FC236}">
                <a16:creationId xmlns:a16="http://schemas.microsoft.com/office/drawing/2014/main" id="{E20B85DD-FC8D-6241-9AA6-6C4DD4278170}"/>
              </a:ext>
            </a:extLst>
          </p:cNvPr>
          <p:cNvSpPr txBox="1"/>
          <p:nvPr userDrawn="1"/>
        </p:nvSpPr>
        <p:spPr>
          <a:xfrm>
            <a:off x="604489" y="5392584"/>
            <a:ext cx="1439290" cy="230832"/>
          </a:xfrm>
          <a:prstGeom prst="rect">
            <a:avLst/>
          </a:prstGeom>
          <a:noFill/>
        </p:spPr>
        <p:txBody>
          <a:bodyPr wrap="square" rtlCol="0" anchor="ctr">
            <a:spAutoFit/>
          </a:bodyPr>
          <a:lstStyle/>
          <a:p>
            <a:r>
              <a:rPr lang="en-US" sz="900" b="1" dirty="0">
                <a:solidFill>
                  <a:schemeClr val="bg1"/>
                </a:solidFill>
              </a:rPr>
              <a:t>IT-</a:t>
            </a:r>
            <a:r>
              <a:rPr lang="ru-RU" sz="900" b="1" dirty="0">
                <a:solidFill>
                  <a:schemeClr val="bg1"/>
                </a:solidFill>
              </a:rPr>
              <a:t>внедрения</a:t>
            </a:r>
          </a:p>
        </p:txBody>
      </p:sp>
      <p:pic>
        <p:nvPicPr>
          <p:cNvPr id="187" name="Рисунок 186">
            <a:extLst>
              <a:ext uri="{FF2B5EF4-FFF2-40B4-BE49-F238E27FC236}">
                <a16:creationId xmlns:a16="http://schemas.microsoft.com/office/drawing/2014/main" id="{58722B2D-4C96-8A4B-BB84-32A648579FA1}"/>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5364000"/>
            <a:ext cx="288000" cy="288000"/>
          </a:xfrm>
          <a:prstGeom prst="rect">
            <a:avLst/>
          </a:prstGeom>
        </p:spPr>
      </p:pic>
      <p:sp>
        <p:nvSpPr>
          <p:cNvPr id="53" name="Прямоугольник 52">
            <a:extLst>
              <a:ext uri="{FF2B5EF4-FFF2-40B4-BE49-F238E27FC236}">
                <a16:creationId xmlns:a16="http://schemas.microsoft.com/office/drawing/2014/main" id="{1C0D21BB-EDFE-D944-A87E-D59C6F702564}"/>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A0850A7D-A225-724F-B822-833A0B52EF2D}"/>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74418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4_Housekeeping dashboard">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BC8E6E5D-70F2-E24E-8A30-5CA5A090B08D}"/>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F30FEF1C-CDC7-324E-9731-D4FD1762AC6F}"/>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48DA50FF-3032-8C46-87C8-0834FD4A605A}"/>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FCF68C8F-D679-ED4D-9405-6C66367F54E3}"/>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C251325C-84DA-C841-AC5D-81DC5243AD3A}"/>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9A50D578-C8D0-0245-B07C-1B4EDA98D6D2}"/>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9C44079C-4446-A748-A098-EE007009CBB7}"/>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ABC53B92-3877-E24B-9891-0C324F843531}"/>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BDCB41B9-E853-0C43-9A5E-3BCF890CE556}"/>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27B3AF6D-DA74-9B4D-8AF5-0E04E2C64BE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B98B1AC4-52D0-0049-9945-FCD3B7581CC1}"/>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CBC6A984-A57C-7C45-B4DB-1312F04E3AFD}"/>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27DFA1E5-0CA2-204B-91E7-A81F44A6494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487DB0E0-2302-BF49-8F24-15183E5A8FF5}"/>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931D5255-3E6C-5F46-917B-E67E45DC9CED}"/>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DC326296-C91A-2E46-AE36-E632D4C576A0}"/>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015693F7-2B66-D846-8B02-D11551B94B40}"/>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B88EA959-27DF-FA4D-8C28-7DE73B48C506}"/>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2AC9A54F-C03C-D642-B560-FA7B70135B8B}"/>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9794F5C4-9DCC-2D46-B91E-75A507CA2F52}"/>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6EB06C74-61BA-1744-B22E-AB27180DF331}"/>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27E936D3-0B22-4A45-9F9F-602D5766063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2334DA49-7E78-7D48-A3B1-9F9AF62CF641}"/>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C261CCDE-B025-6146-811E-C20EB9ACB2D7}"/>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A3ED3DEC-7028-B541-AFF7-361A8DFF78C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CC132977-CBD0-1B40-BF2A-E6FF59AF80D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3E32EF39-2D0D-8144-869A-44EA3BD47CAC}"/>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84B360DE-1FA3-FE4F-BEB6-BDEB8C052FF8}"/>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D76E6F21-3381-5A4A-9A02-6598295AC25B}"/>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360E435E-DC06-424F-9B25-03E19F2829FD}"/>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72E8DA84-EB0C-6D4E-A5D9-5F91B14FFDA4}"/>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1105A2AF-8021-1342-A513-2C12297B6C85}"/>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AE4AAA0E-410A-7648-9A48-D50E20C80673}"/>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E98BDE3E-31E1-444C-8A2F-855937B59810}"/>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41AC88E8-4267-E74E-879A-49276F0FE410}"/>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988A4365-A412-FC4E-8219-20BDF9EFAF35}"/>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B5434D16-DD9A-0E4D-A71E-0CF0F7394F31}"/>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B33C1554-F6DA-2640-BC95-C93B8E6FC73B}"/>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4336B050-6CEE-5644-8EEB-ECAA229171DD}"/>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B96BF871-A2DF-CE41-A42E-6BEC4483A4CB}"/>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3806C03E-9B04-5F41-BDCC-993EC18DF832}"/>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DFFE2BCB-A6B6-6247-8A04-6AE4A1B87345}"/>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4F12502A-2D47-464D-BF73-F9DA9746347B}"/>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6" name="Прямоугольник 115">
            <a:extLst>
              <a:ext uri="{FF2B5EF4-FFF2-40B4-BE49-F238E27FC236}">
                <a16:creationId xmlns:a16="http://schemas.microsoft.com/office/drawing/2014/main" id="{D356A863-8ED0-104C-A979-011ADC9CA5F7}"/>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E84BD71D-6511-D649-B681-40BF6DC15B69}"/>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B801D65F-1EDC-3F4F-83D0-786DC17DA30F}"/>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89" name="Прямоугольник 188">
            <a:extLst>
              <a:ext uri="{FF2B5EF4-FFF2-40B4-BE49-F238E27FC236}">
                <a16:creationId xmlns:a16="http://schemas.microsoft.com/office/drawing/2014/main" id="{8AE3B7E6-3007-2941-81A3-21BDEB2EC6B9}"/>
              </a:ext>
            </a:extLst>
          </p:cNvPr>
          <p:cNvSpPr/>
          <p:nvPr userDrawn="1"/>
        </p:nvSpPr>
        <p:spPr>
          <a:xfrm>
            <a:off x="0" y="5724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0" name="TextBox 189">
            <a:extLst>
              <a:ext uri="{FF2B5EF4-FFF2-40B4-BE49-F238E27FC236}">
                <a16:creationId xmlns:a16="http://schemas.microsoft.com/office/drawing/2014/main" id="{70010455-FBAE-194A-B4A7-9E0159C29FC4}"/>
              </a:ext>
            </a:extLst>
          </p:cNvPr>
          <p:cNvSpPr txBox="1"/>
          <p:nvPr userDrawn="1"/>
        </p:nvSpPr>
        <p:spPr>
          <a:xfrm>
            <a:off x="604489" y="5824584"/>
            <a:ext cx="1439290" cy="230832"/>
          </a:xfrm>
          <a:prstGeom prst="rect">
            <a:avLst/>
          </a:prstGeom>
          <a:noFill/>
        </p:spPr>
        <p:txBody>
          <a:bodyPr wrap="square" rtlCol="0" anchor="ctr">
            <a:spAutoFit/>
          </a:bodyPr>
          <a:lstStyle/>
          <a:p>
            <a:r>
              <a:rPr lang="en-US" sz="900" b="1" dirty="0">
                <a:solidFill>
                  <a:schemeClr val="bg1"/>
                </a:solidFill>
              </a:rPr>
              <a:t>Housekeeping dashboard</a:t>
            </a:r>
            <a:endParaRPr lang="ru-RU" sz="900" b="1" dirty="0">
              <a:solidFill>
                <a:schemeClr val="bg1"/>
              </a:solidFill>
            </a:endParaRPr>
          </a:p>
        </p:txBody>
      </p:sp>
      <p:pic>
        <p:nvPicPr>
          <p:cNvPr id="191" name="Рисунок 190">
            <a:extLst>
              <a:ext uri="{FF2B5EF4-FFF2-40B4-BE49-F238E27FC236}">
                <a16:creationId xmlns:a16="http://schemas.microsoft.com/office/drawing/2014/main" id="{56B9C68B-7BB9-884D-BEDC-D92335D82818}"/>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5796000"/>
            <a:ext cx="288000" cy="288000"/>
          </a:xfrm>
          <a:prstGeom prst="rect">
            <a:avLst/>
          </a:prstGeom>
        </p:spPr>
      </p:pic>
      <p:sp>
        <p:nvSpPr>
          <p:cNvPr id="53" name="Прямоугольник 52">
            <a:extLst>
              <a:ext uri="{FF2B5EF4-FFF2-40B4-BE49-F238E27FC236}">
                <a16:creationId xmlns:a16="http://schemas.microsoft.com/office/drawing/2014/main" id="{25D879A6-CBDA-ED4B-86CF-803AFB23ED49}"/>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F0A6CCB5-6DB2-C741-905E-C8246E9FB6BF}"/>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5" name="Рисунок 4"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6" name="Рисунок 5"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7" name="Рисунок 6"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29018807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5_Дополнительно">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D8782B54-09F5-FF48-9B91-5AF0B81A52BB}"/>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BB5AA8F6-C08B-CB4A-8762-DBC65E1FBF92}"/>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47EE5BF7-FE67-064C-BD00-33AACC8A266C}"/>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B4E24D38-DAE0-A845-A2CC-FF4925853E28}"/>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D09FC5A9-0200-B340-B4FF-5E3472DDD361}"/>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2FBF37FB-131F-7F48-A501-AC2B06644F19}"/>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D74756C2-0474-F745-86EE-35A0D1F8FBE8}"/>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D557E184-5A8E-074E-A890-C6F394D26181}"/>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B136CCC9-B874-964A-9353-16FC33392E7E}"/>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723B0DE7-EA2E-7647-BFF2-F0F88DDEE41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AF03B150-8FEF-4146-9948-924FF8312163}"/>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0F1BC41A-4AC5-D544-9430-F8CCFEB0144B}"/>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095B8517-A845-E948-A6BD-A1AB41C76D3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11CD41B4-58C4-7349-BA2D-618DF6701CB6}"/>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F6BD64F6-CE5D-9F46-9D0F-691CC9848852}"/>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73BAFEF7-2D2A-064A-B22A-84845B1BC5B3}"/>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2DAFC37C-AF10-1546-B7DF-798FD68E4CDE}"/>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A4F2405B-DFB1-DA4D-99DA-87D6F23A4251}"/>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43A06FF3-64A6-464C-A7B3-879FC42C0BB8}"/>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1965265F-8368-CE4E-AA9C-1CBADD449870}"/>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3861ED43-2259-4A41-8446-781F203172B9}"/>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74A212F8-6C9B-9348-9AA2-FA83D33980A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0C22D92A-0F7A-5840-A64B-9BBF7B142252}"/>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94DA328A-2023-0D4B-A9C7-37DEEB53C7D8}"/>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FB1DF208-643C-9747-BF21-F947E9889391}"/>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3BEA8ED4-7390-9046-AA7E-6EFFD312E53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8A0D4B8C-45C3-3048-BCC5-2DBC75721F47}"/>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2676D885-46BC-4B44-B3A3-BBFF99281236}"/>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51B97417-22BE-B643-AF16-00D97D7BADAA}"/>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6F2D877A-6916-8845-AB04-AD1A2047FBF0}"/>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72C0460A-0A47-F84E-83AB-675E887F6775}"/>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961A2AB0-4F3F-9749-8AB5-D4BD15FA30C1}"/>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355732E1-C24D-1F45-B0E1-F9A53BD8567B}"/>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BC9FE514-F8C2-7849-A6A4-8F925DF33B09}"/>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470711CE-745D-E540-93A5-CAA08FC072AC}"/>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 name="TextBox 96">
            <a:extLst>
              <a:ext uri="{FF2B5EF4-FFF2-40B4-BE49-F238E27FC236}">
                <a16:creationId xmlns:a16="http://schemas.microsoft.com/office/drawing/2014/main" id="{7DB94F94-F1F4-EF40-A063-120B87083725}"/>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98" name="Рисунок 97">
            <a:extLst>
              <a:ext uri="{FF2B5EF4-FFF2-40B4-BE49-F238E27FC236}">
                <a16:creationId xmlns:a16="http://schemas.microsoft.com/office/drawing/2014/main" id="{EA639D4A-E876-A344-91CF-9C0FCC13939E}"/>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99" name="Прямоугольник 98">
            <a:extLst>
              <a:ext uri="{FF2B5EF4-FFF2-40B4-BE49-F238E27FC236}">
                <a16:creationId xmlns:a16="http://schemas.microsoft.com/office/drawing/2014/main" id="{ED1372D9-E19A-8544-85B7-028DAB7C8067}"/>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92A15AAB-9DFA-7149-B982-CCAC4152CDE7}"/>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4" name="Рисунок 103">
            <a:extLst>
              <a:ext uri="{FF2B5EF4-FFF2-40B4-BE49-F238E27FC236}">
                <a16:creationId xmlns:a16="http://schemas.microsoft.com/office/drawing/2014/main" id="{8EDC4888-B047-1845-B6D1-DBA16E92882E}"/>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5" name="Прямоугольник 104">
            <a:extLst>
              <a:ext uri="{FF2B5EF4-FFF2-40B4-BE49-F238E27FC236}">
                <a16:creationId xmlns:a16="http://schemas.microsoft.com/office/drawing/2014/main" id="{938976E7-9CA7-524B-A9C5-18EBA5BC2F94}"/>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F46D6FD2-8B82-EA44-8518-4593379245C9}"/>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09" name="Рисунок 108">
            <a:extLst>
              <a:ext uri="{FF2B5EF4-FFF2-40B4-BE49-F238E27FC236}">
                <a16:creationId xmlns:a16="http://schemas.microsoft.com/office/drawing/2014/main" id="{FC14728E-78BB-3647-BF71-98573E246A00}"/>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0" name="Прямоугольник 109">
            <a:extLst>
              <a:ext uri="{FF2B5EF4-FFF2-40B4-BE49-F238E27FC236}">
                <a16:creationId xmlns:a16="http://schemas.microsoft.com/office/drawing/2014/main" id="{8EA413F7-F2CF-2E4F-AA2A-807627A1CBCD}"/>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8010D40C-1CDB-AD43-868B-0071FF18907C}"/>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2" name="Рисунок 111">
            <a:extLst>
              <a:ext uri="{FF2B5EF4-FFF2-40B4-BE49-F238E27FC236}">
                <a16:creationId xmlns:a16="http://schemas.microsoft.com/office/drawing/2014/main" id="{389A9504-9942-9C46-B91B-4F6395AD3AC2}"/>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94" name="Прямоугольник 193">
            <a:extLst>
              <a:ext uri="{FF2B5EF4-FFF2-40B4-BE49-F238E27FC236}">
                <a16:creationId xmlns:a16="http://schemas.microsoft.com/office/drawing/2014/main" id="{1AEB36F1-0B85-8D4A-B3C9-47F82A5FA594}"/>
              </a:ext>
            </a:extLst>
          </p:cNvPr>
          <p:cNvSpPr/>
          <p:nvPr userDrawn="1"/>
        </p:nvSpPr>
        <p:spPr>
          <a:xfrm>
            <a:off x="0" y="6156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5" name="TextBox 194">
            <a:extLst>
              <a:ext uri="{FF2B5EF4-FFF2-40B4-BE49-F238E27FC236}">
                <a16:creationId xmlns:a16="http://schemas.microsoft.com/office/drawing/2014/main" id="{013E5196-FDF2-7948-B005-A97E7E9527E5}"/>
              </a:ext>
            </a:extLst>
          </p:cNvPr>
          <p:cNvSpPr txBox="1"/>
          <p:nvPr userDrawn="1"/>
        </p:nvSpPr>
        <p:spPr>
          <a:xfrm>
            <a:off x="604489" y="6256584"/>
            <a:ext cx="1439290" cy="230832"/>
          </a:xfrm>
          <a:prstGeom prst="rect">
            <a:avLst/>
          </a:prstGeom>
          <a:noFill/>
        </p:spPr>
        <p:txBody>
          <a:bodyPr wrap="square" rtlCol="0" anchor="ctr">
            <a:spAutoFit/>
          </a:bodyPr>
          <a:lstStyle/>
          <a:p>
            <a:r>
              <a:rPr lang="ru-RU" sz="900" b="1" dirty="0">
                <a:solidFill>
                  <a:schemeClr val="bg1"/>
                </a:solidFill>
              </a:rPr>
              <a:t>Дополнительно</a:t>
            </a:r>
          </a:p>
        </p:txBody>
      </p:sp>
      <p:pic>
        <p:nvPicPr>
          <p:cNvPr id="196" name="Рисунок 195">
            <a:extLst>
              <a:ext uri="{FF2B5EF4-FFF2-40B4-BE49-F238E27FC236}">
                <a16:creationId xmlns:a16="http://schemas.microsoft.com/office/drawing/2014/main" id="{26E4282E-A92C-F140-9BC2-BCAB9E7C9807}"/>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6228000"/>
            <a:ext cx="288000" cy="288000"/>
          </a:xfrm>
          <a:prstGeom prst="rect">
            <a:avLst/>
          </a:prstGeom>
        </p:spPr>
      </p:pic>
      <p:sp>
        <p:nvSpPr>
          <p:cNvPr id="53" name="Прямоугольник 52">
            <a:extLst>
              <a:ext uri="{FF2B5EF4-FFF2-40B4-BE49-F238E27FC236}">
                <a16:creationId xmlns:a16="http://schemas.microsoft.com/office/drawing/2014/main" id="{3C6A29F3-0ED7-9646-9C12-A135630D20B9}"/>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490BA47B-644C-164D-8434-599A8D845AE6}"/>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5" name="Рисунок 4"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6" name="Рисунок 5"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7" name="Рисунок 6"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7728616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ОС блока (лого)">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F58A97C1-CBDC-F341-AB90-EB0671A1DA02}"/>
              </a:ext>
            </a:extLst>
          </p:cNvPr>
          <p:cNvSpPr>
            <a:spLocks noGrp="1"/>
          </p:cNvSpPr>
          <p:nvPr>
            <p:ph type="title"/>
          </p:nvPr>
        </p:nvSpPr>
        <p:spPr>
          <a:xfrm>
            <a:off x="191344" y="1"/>
            <a:ext cx="9289032"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4" name="TextBox 93">
            <a:extLst>
              <a:ext uri="{FF2B5EF4-FFF2-40B4-BE49-F238E27FC236}">
                <a16:creationId xmlns:a16="http://schemas.microsoft.com/office/drawing/2014/main" id="{8ABAD0E0-B078-FF4E-83AF-D94F3678245B}"/>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pic>
        <p:nvPicPr>
          <p:cNvPr id="3" name="Рисунок 2">
            <a:extLst>
              <a:ext uri="{FF2B5EF4-FFF2-40B4-BE49-F238E27FC236}">
                <a16:creationId xmlns:a16="http://schemas.microsoft.com/office/drawing/2014/main" id="{892DAC0A-FA61-6547-9C54-FE7681EEEB8D}"/>
              </a:ext>
            </a:extLst>
          </p:cNvPr>
          <p:cNvPicPr>
            <a:picLocks noChangeAspect="1"/>
          </p:cNvPicPr>
          <p:nvPr userDrawn="1"/>
        </p:nvPicPr>
        <p:blipFill rotWithShape="1">
          <a:blip r:embed="rId2" cstate="print">
            <a:clrChange>
              <a:clrFrom>
                <a:srgbClr val="215F38"/>
              </a:clrFrom>
              <a:clrTo>
                <a:srgbClr val="215F38">
                  <a:alpha val="0"/>
                </a:srgbClr>
              </a:clrTo>
            </a:clrChange>
            <a:extLst>
              <a:ext uri="{28A0092B-C50C-407E-A947-70E740481C1C}">
                <a14:useLocalDpi xmlns:a14="http://schemas.microsoft.com/office/drawing/2010/main" val="0"/>
              </a:ext>
            </a:extLst>
          </a:blip>
          <a:srcRect l="12458" t="15687" r="11313" b="65496"/>
          <a:stretch/>
        </p:blipFill>
        <p:spPr>
          <a:xfrm>
            <a:off x="10380391" y="0"/>
            <a:ext cx="1640806" cy="540000"/>
          </a:xfrm>
          <a:prstGeom prst="rect">
            <a:avLst/>
          </a:prstGeom>
        </p:spPr>
      </p:pic>
      <p:pic>
        <p:nvPicPr>
          <p:cNvPr id="5" name="Рисунок 4" descr="http://DF3E5075026D06B109AE70DBF9D6CDD1.dms.sberbank.ru/DF3E5075026D06B109AE70DBF9D6CDD1-92DCC9725E0A03BFCF87C98938EC5031-7C306E030999F7BF689A16489D167D10/1.png"/>
          <p:cNvPicPr>
            <a:picLocks/>
          </p:cNvPicPr>
          <p:nvPr userDrawn="1"/>
        </p:nvPicPr>
        <p:blipFill>
          <a:blip r:link="rId3"/>
          <a:stretch>
            <a:fillRect/>
          </a:stretch>
        </p:blipFill>
        <p:spPr>
          <a:xfrm>
            <a:off x="0" y="0"/>
            <a:ext cx="1588" cy="1588"/>
          </a:xfrm>
          <a:prstGeom prst="rect">
            <a:avLst/>
          </a:prstGeom>
        </p:spPr>
      </p:pic>
      <p:pic>
        <p:nvPicPr>
          <p:cNvPr id="6" name="Рисунок 5" descr="http://DF3E5075026D06B109AE70DBF9D6CDD1.dms.sberbank.ru/DF3E5075026D06B109AE70DBF9D6CDD1-92DCC9725E0A03BFCF87C98938EC5031-7C306E030999F7BF689A16489D167D10/1.png"/>
          <p:cNvPicPr>
            <a:picLocks/>
          </p:cNvPicPr>
          <p:nvPr userDrawn="1"/>
        </p:nvPicPr>
        <p:blipFill>
          <a:blip r:link="rId3"/>
          <a:stretch>
            <a:fillRect/>
          </a:stretch>
        </p:blipFill>
        <p:spPr>
          <a:xfrm>
            <a:off x="0" y="0"/>
            <a:ext cx="1588" cy="1588"/>
          </a:xfrm>
          <a:prstGeom prst="rect">
            <a:avLst/>
          </a:prstGeom>
        </p:spPr>
      </p:pic>
    </p:spTree>
    <p:extLst>
      <p:ext uri="{BB962C8B-B14F-4D97-AF65-F5344CB8AC3E}">
        <p14:creationId xmlns:p14="http://schemas.microsoft.com/office/powerpoint/2010/main" val="13339801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Основной">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673"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7" name="Text Box 14"/>
          <p:cNvSpPr txBox="1">
            <a:spLocks noChangeArrowheads="1"/>
          </p:cNvSpPr>
          <p:nvPr userDrawn="1"/>
        </p:nvSpPr>
        <p:spPr bwMode="auto">
          <a:xfrm>
            <a:off x="-74083" y="6669361"/>
            <a:ext cx="4978400" cy="276999"/>
          </a:xfrm>
          <a:prstGeom prst="rect">
            <a:avLst/>
          </a:prstGeom>
          <a:noFill/>
          <a:ln>
            <a:noFill/>
          </a:ln>
        </p:spPr>
        <p:txBody>
          <a:bodyPr>
            <a:spAutoFit/>
          </a:bodyPr>
          <a:lstStyle>
            <a:lvl1pPr marL="173038" indent="-173038" eaLnBrk="0" hangingPunct="0">
              <a:defRPr>
                <a:solidFill>
                  <a:schemeClr val="tx1"/>
                </a:solidFill>
                <a:latin typeface="Franklin Gothic Book" pitchFamily="34" charset="0"/>
              </a:defRPr>
            </a:lvl1pPr>
            <a:lvl2pPr marL="742950" indent="-285750" eaLnBrk="0" hangingPunct="0">
              <a:defRPr>
                <a:solidFill>
                  <a:schemeClr val="tx1"/>
                </a:solidFill>
                <a:latin typeface="Franklin Gothic Book" pitchFamily="34" charset="0"/>
              </a:defRPr>
            </a:lvl2pPr>
            <a:lvl3pPr marL="1143000" indent="-228600" eaLnBrk="0" hangingPunct="0">
              <a:defRPr>
                <a:solidFill>
                  <a:schemeClr val="tx1"/>
                </a:solidFill>
                <a:latin typeface="Franklin Gothic Book" pitchFamily="34" charset="0"/>
              </a:defRPr>
            </a:lvl3pPr>
            <a:lvl4pPr marL="1600200" indent="-228600" eaLnBrk="0" hangingPunct="0">
              <a:defRPr>
                <a:solidFill>
                  <a:schemeClr val="tx1"/>
                </a:solidFill>
                <a:latin typeface="Franklin Gothic Book" pitchFamily="34" charset="0"/>
              </a:defRPr>
            </a:lvl4pPr>
            <a:lvl5pPr marL="2057400" indent="-228600" eaLnBrk="0" hangingPunct="0">
              <a:defRPr>
                <a:solidFill>
                  <a:schemeClr val="tx1"/>
                </a:solidFill>
                <a:latin typeface="Franklin Gothic Book" pitchFamily="34" charset="0"/>
              </a:defRPr>
            </a:lvl5pPr>
            <a:lvl6pPr marL="2514600" indent="-228600" eaLnBrk="0" fontAlgn="base" hangingPunct="0">
              <a:spcBef>
                <a:spcPct val="0"/>
              </a:spcBef>
              <a:spcAft>
                <a:spcPct val="0"/>
              </a:spcAft>
              <a:defRPr>
                <a:solidFill>
                  <a:schemeClr val="tx1"/>
                </a:solidFill>
                <a:latin typeface="Franklin Gothic Book" pitchFamily="34" charset="0"/>
              </a:defRPr>
            </a:lvl6pPr>
            <a:lvl7pPr marL="2971800" indent="-228600" eaLnBrk="0" fontAlgn="base" hangingPunct="0">
              <a:spcBef>
                <a:spcPct val="0"/>
              </a:spcBef>
              <a:spcAft>
                <a:spcPct val="0"/>
              </a:spcAft>
              <a:defRPr>
                <a:solidFill>
                  <a:schemeClr val="tx1"/>
                </a:solidFill>
                <a:latin typeface="Franklin Gothic Book" pitchFamily="34" charset="0"/>
              </a:defRPr>
            </a:lvl7pPr>
            <a:lvl8pPr marL="3429000" indent="-228600" eaLnBrk="0" fontAlgn="base" hangingPunct="0">
              <a:spcBef>
                <a:spcPct val="0"/>
              </a:spcBef>
              <a:spcAft>
                <a:spcPct val="0"/>
              </a:spcAft>
              <a:defRPr>
                <a:solidFill>
                  <a:schemeClr val="tx1"/>
                </a:solidFill>
                <a:latin typeface="Franklin Gothic Book" pitchFamily="34" charset="0"/>
              </a:defRPr>
            </a:lvl8pPr>
            <a:lvl9pPr marL="3886200" indent="-228600" eaLnBrk="0" fontAlgn="base" hangingPunct="0">
              <a:spcBef>
                <a:spcPct val="0"/>
              </a:spcBef>
              <a:spcAft>
                <a:spcPct val="0"/>
              </a:spcAft>
              <a:defRPr>
                <a:solidFill>
                  <a:schemeClr val="tx1"/>
                </a:solidFill>
                <a:latin typeface="Franklin Gothic Book" pitchFamily="34" charset="0"/>
              </a:defRPr>
            </a:lvl9pPr>
          </a:lstStyle>
          <a:p>
            <a:pPr eaLnBrk="1" hangingPunct="1">
              <a:spcBef>
                <a:spcPct val="50000"/>
              </a:spcBef>
              <a:defRPr/>
            </a:pPr>
            <a:r>
              <a:rPr lang="ru-RU" sz="1200" dirty="0">
                <a:solidFill>
                  <a:schemeClr val="tx1"/>
                </a:solidFill>
                <a:latin typeface="Calibri" pitchFamily="34" charset="0"/>
                <a:cs typeface="Calibri" pitchFamily="34" charset="0"/>
              </a:rPr>
              <a:t>© Департамент финансов</a:t>
            </a:r>
            <a:endParaRPr lang="en-US" sz="1200" dirty="0">
              <a:solidFill>
                <a:schemeClr val="tx1"/>
              </a:solidFill>
              <a:latin typeface="Calibri" pitchFamily="34" charset="0"/>
              <a:cs typeface="Calibri" pitchFamily="34" charset="0"/>
            </a:endParaRPr>
          </a:p>
        </p:txBody>
      </p:sp>
      <p:sp>
        <p:nvSpPr>
          <p:cNvPr id="9" name="Параллелограмм 8"/>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Tree>
    <p:extLst>
      <p:ext uri="{BB962C8B-B14F-4D97-AF65-F5344CB8AC3E}">
        <p14:creationId xmlns:p14="http://schemas.microsoft.com/office/powerpoint/2010/main" val="2014224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Чужие слайды">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48682"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9" name="Параллелограмм 8"/>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pic>
        <p:nvPicPr>
          <p:cNvPr id="12" name="Рисунок 11" descr="http://D0340E7D5E8451B36CF9DE5E517AB11D.dms.sberbank.ru/D0340E7D5E8451B36CF9DE5E517AB11D-76E77F61EA6BF346E8CD249421A1F0C6-979C24910635A5F09AF6D68FE94A4CA8/1.png"/>
          <p:cNvPicPr>
            <a:picLocks/>
          </p:cNvPicPr>
          <p:nvPr userDrawn="1"/>
        </p:nvPicPr>
        <p:blipFill>
          <a:blip r:link="rId3"/>
          <a:stretch>
            <a:fillRect/>
          </a:stretch>
        </p:blipFill>
        <p:spPr>
          <a:xfrm>
            <a:off x="0" y="0"/>
            <a:ext cx="1588" cy="1588"/>
          </a:xfrm>
          <a:prstGeom prst="rect">
            <a:avLst/>
          </a:prstGeom>
        </p:spPr>
      </p:pic>
    </p:spTree>
    <p:extLst>
      <p:ext uri="{BB962C8B-B14F-4D97-AF65-F5344CB8AC3E}">
        <p14:creationId xmlns:p14="http://schemas.microsoft.com/office/powerpoint/2010/main" val="20665251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Содержание">
    <p:spTree>
      <p:nvGrpSpPr>
        <p:cNvPr id="1" name=""/>
        <p:cNvGrpSpPr/>
        <p:nvPr/>
      </p:nvGrpSpPr>
      <p:grpSpPr>
        <a:xfrm>
          <a:off x="0" y="0"/>
          <a:ext cx="0" cy="0"/>
          <a:chOff x="0" y="0"/>
          <a:chExt cx="0" cy="0"/>
        </a:xfrm>
      </p:grpSpPr>
      <p:sp>
        <p:nvSpPr>
          <p:cNvPr id="23" name="Параллелограмм 22"/>
          <p:cNvSpPr>
            <a:spLocks/>
          </p:cNvSpPr>
          <p:nvPr userDrawn="1"/>
        </p:nvSpPr>
        <p:spPr bwMode="auto">
          <a:xfrm>
            <a:off x="239392" y="-27384"/>
            <a:ext cx="384000"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19" name="Параллелограмм 18"/>
          <p:cNvSpPr/>
          <p:nvPr userDrawn="1"/>
        </p:nvSpPr>
        <p:spPr bwMode="auto">
          <a:xfrm>
            <a:off x="71392" y="44624"/>
            <a:ext cx="336000" cy="468000"/>
          </a:xfrm>
          <a:prstGeom prst="parallelogram">
            <a:avLst>
              <a:gd name="adj" fmla="val 77525"/>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6" name="Параллелограмм 5"/>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7" name="Параллелограмм 6"/>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Tree>
    <p:extLst>
      <p:ext uri="{BB962C8B-B14F-4D97-AF65-F5344CB8AC3E}">
        <p14:creationId xmlns:p14="http://schemas.microsoft.com/office/powerpoint/2010/main" val="7745606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p:spTree>
      <p:nvGrpSpPr>
        <p:cNvPr id="1" name=""/>
        <p:cNvGrpSpPr/>
        <p:nvPr/>
      </p:nvGrpSpPr>
      <p:grpSpPr>
        <a:xfrm>
          <a:off x="0" y="0"/>
          <a:ext cx="0" cy="0"/>
          <a:chOff x="0" y="0"/>
          <a:chExt cx="0" cy="0"/>
        </a:xfrm>
      </p:grpSpPr>
      <p:sp>
        <p:nvSpPr>
          <p:cNvPr id="13" name="Прямоугольный треугольник 12"/>
          <p:cNvSpPr/>
          <p:nvPr userDrawn="1"/>
        </p:nvSpPr>
        <p:spPr bwMode="auto">
          <a:xfrm rot="10800000" flipH="1">
            <a:off x="-432711" y="-425"/>
            <a:ext cx="3727205" cy="5737692"/>
          </a:xfrm>
          <a:prstGeom prst="rtTriangle">
            <a:avLst/>
          </a:prstGeom>
          <a:gradFill flip="none" rotWithShape="1">
            <a:gsLst>
              <a:gs pos="0">
                <a:schemeClr val="accent1">
                  <a:tint val="66000"/>
                  <a:satMod val="160000"/>
                </a:schemeClr>
              </a:gs>
              <a:gs pos="0">
                <a:schemeClr val="bg1">
                  <a:lumMod val="85000"/>
                </a:schemeClr>
              </a:gs>
              <a:gs pos="100000">
                <a:srgbClr val="E8E8E8"/>
              </a:gs>
            </a:gsLst>
            <a:lin ang="16200000" scaled="1"/>
            <a:tileRect/>
          </a:gra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ru-RU" sz="2400" b="0" i="0" u="none" strike="noStrike" cap="none" normalizeH="0" baseline="0" dirty="0">
              <a:ln>
                <a:noFill/>
              </a:ln>
              <a:solidFill>
                <a:schemeClr val="tx1"/>
              </a:solidFill>
              <a:effectLst/>
              <a:latin typeface="Franklin Gothic Book" pitchFamily="34" charset="0"/>
            </a:endParaRPr>
          </a:p>
        </p:txBody>
      </p:sp>
      <p:sp>
        <p:nvSpPr>
          <p:cNvPr id="19" name="Параллелограмм 18"/>
          <p:cNvSpPr/>
          <p:nvPr userDrawn="1"/>
        </p:nvSpPr>
        <p:spPr bwMode="auto">
          <a:xfrm>
            <a:off x="8592277" y="-6985"/>
            <a:ext cx="494400"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3" name="Параллелограмм 22"/>
          <p:cNvSpPr>
            <a:spLocks/>
          </p:cNvSpPr>
          <p:nvPr userDrawn="1"/>
        </p:nvSpPr>
        <p:spPr bwMode="auto">
          <a:xfrm>
            <a:off x="1009269" y="865"/>
            <a:ext cx="2280000" cy="3356129"/>
          </a:xfrm>
          <a:prstGeom prst="parallelogram">
            <a:avLst>
              <a:gd name="adj" fmla="val 9491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pic>
        <p:nvPicPr>
          <p:cNvPr id="7" name="Picture 15" descr="logo"/>
          <p:cNvPicPr>
            <a:picLocks noChangeAspect="1" noChangeArrowheads="1"/>
          </p:cNvPicPr>
          <p:nvPr userDrawn="1"/>
        </p:nvPicPr>
        <p:blipFill>
          <a:blip r:embed="rId2" cstate="print"/>
          <a:srcRect/>
          <a:stretch>
            <a:fillRect/>
          </a:stretch>
        </p:blipFill>
        <p:spPr bwMode="auto">
          <a:xfrm>
            <a:off x="9539684" y="324695"/>
            <a:ext cx="2349955" cy="468000"/>
          </a:xfrm>
          <a:prstGeom prst="rect">
            <a:avLst/>
          </a:prstGeom>
          <a:noFill/>
          <a:ln w="9525">
            <a:noFill/>
            <a:miter lim="800000"/>
            <a:headEnd/>
            <a:tailEnd/>
          </a:ln>
        </p:spPr>
      </p:pic>
      <p:sp>
        <p:nvSpPr>
          <p:cNvPr id="9" name="Параллелограмм 8"/>
          <p:cNvSpPr>
            <a:spLocks/>
          </p:cNvSpPr>
          <p:nvPr userDrawn="1"/>
        </p:nvSpPr>
        <p:spPr bwMode="auto">
          <a:xfrm>
            <a:off x="8123993" y="149182"/>
            <a:ext cx="681600" cy="938244"/>
          </a:xfrm>
          <a:prstGeom prst="parallelogram">
            <a:avLst>
              <a:gd name="adj" fmla="val 88198"/>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12" name="Прямоугольный треугольник 11"/>
          <p:cNvSpPr/>
          <p:nvPr userDrawn="1"/>
        </p:nvSpPr>
        <p:spPr bwMode="auto">
          <a:xfrm flipH="1">
            <a:off x="8922242" y="1124745"/>
            <a:ext cx="3727205" cy="5737692"/>
          </a:xfrm>
          <a:prstGeom prst="rtTriangle">
            <a:avLst/>
          </a:prstGeom>
          <a:gradFill flip="none" rotWithShape="1">
            <a:gsLst>
              <a:gs pos="0">
                <a:schemeClr val="accent1">
                  <a:tint val="66000"/>
                  <a:satMod val="160000"/>
                </a:schemeClr>
              </a:gs>
              <a:gs pos="0">
                <a:schemeClr val="bg1">
                  <a:lumMod val="85000"/>
                </a:schemeClr>
              </a:gs>
              <a:gs pos="100000">
                <a:srgbClr val="E8E8E8"/>
              </a:gs>
            </a:gsLst>
            <a:lin ang="16200000" scaled="1"/>
            <a:tileRect/>
          </a:gra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ru-RU" sz="2400" b="0" i="0" u="none" strike="noStrike" cap="none" normalizeH="0" baseline="0" dirty="0">
              <a:ln>
                <a:noFill/>
              </a:ln>
              <a:solidFill>
                <a:schemeClr val="tx1"/>
              </a:solidFill>
              <a:effectLst/>
              <a:latin typeface="Franklin Gothic Book" pitchFamily="34" charset="0"/>
            </a:endParaRPr>
          </a:p>
        </p:txBody>
      </p:sp>
      <p:sp>
        <p:nvSpPr>
          <p:cNvPr id="20" name="Параллелограмм 19"/>
          <p:cNvSpPr>
            <a:spLocks/>
          </p:cNvSpPr>
          <p:nvPr userDrawn="1"/>
        </p:nvSpPr>
        <p:spPr bwMode="auto">
          <a:xfrm>
            <a:off x="519194" y="-117881"/>
            <a:ext cx="911685" cy="828000"/>
          </a:xfrm>
          <a:prstGeom prst="parallelogram">
            <a:avLst>
              <a:gd name="adj" fmla="val 58313"/>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1" name="Параллелограмм 20"/>
          <p:cNvSpPr>
            <a:spLocks/>
          </p:cNvSpPr>
          <p:nvPr userDrawn="1"/>
        </p:nvSpPr>
        <p:spPr bwMode="auto">
          <a:xfrm>
            <a:off x="911432" y="6021288"/>
            <a:ext cx="895361" cy="1224136"/>
          </a:xfrm>
          <a:prstGeom prst="parallelogram">
            <a:avLst>
              <a:gd name="adj" fmla="val 8942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2" name="Параллелограмм 21"/>
          <p:cNvSpPr>
            <a:spLocks/>
          </p:cNvSpPr>
          <p:nvPr userDrawn="1"/>
        </p:nvSpPr>
        <p:spPr bwMode="auto">
          <a:xfrm>
            <a:off x="-1603962" y="11051370"/>
            <a:ext cx="1207087" cy="1077735"/>
          </a:xfrm>
          <a:prstGeom prst="parallelogram">
            <a:avLst>
              <a:gd name="adj" fmla="val 58313"/>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6" name="Параллелограмм 25"/>
          <p:cNvSpPr/>
          <p:nvPr userDrawn="1"/>
        </p:nvSpPr>
        <p:spPr bwMode="auto">
          <a:xfrm>
            <a:off x="8911915" y="3471123"/>
            <a:ext cx="2476467" cy="3400839"/>
          </a:xfrm>
          <a:prstGeom prst="parallelogram">
            <a:avLst>
              <a:gd name="adj" fmla="val 8903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7" name="Параллелограмм 26"/>
          <p:cNvSpPr>
            <a:spLocks/>
          </p:cNvSpPr>
          <p:nvPr userDrawn="1"/>
        </p:nvSpPr>
        <p:spPr bwMode="auto">
          <a:xfrm>
            <a:off x="11311877" y="5348940"/>
            <a:ext cx="671856" cy="936000"/>
          </a:xfrm>
          <a:prstGeom prst="parallelogram">
            <a:avLst>
              <a:gd name="adj" fmla="val 8942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30" name="Параллелограмм 29"/>
          <p:cNvSpPr/>
          <p:nvPr userDrawn="1"/>
        </p:nvSpPr>
        <p:spPr bwMode="auto">
          <a:xfrm>
            <a:off x="632529" y="188119"/>
            <a:ext cx="720000" cy="1044000"/>
          </a:xfrm>
          <a:prstGeom prst="parallelogram">
            <a:avLst>
              <a:gd name="adj" fmla="val 92258"/>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4" name="Параллелограмм 23"/>
          <p:cNvSpPr/>
          <p:nvPr userDrawn="1"/>
        </p:nvSpPr>
        <p:spPr bwMode="auto">
          <a:xfrm>
            <a:off x="1641632" y="5816940"/>
            <a:ext cx="671856" cy="606208"/>
          </a:xfrm>
          <a:prstGeom prst="parallelogram">
            <a:avLst>
              <a:gd name="adj" fmla="val 57816"/>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31" name="Параллелограмм 30"/>
          <p:cNvSpPr/>
          <p:nvPr userDrawn="1"/>
        </p:nvSpPr>
        <p:spPr bwMode="auto">
          <a:xfrm>
            <a:off x="11551733" y="5153440"/>
            <a:ext cx="432000" cy="576000"/>
          </a:xfrm>
          <a:prstGeom prst="parallelogram">
            <a:avLst>
              <a:gd name="adj" fmla="val 83558"/>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Tree>
    <p:extLst>
      <p:ext uri="{BB962C8B-B14F-4D97-AF65-F5344CB8AC3E}">
        <p14:creationId xmlns:p14="http://schemas.microsoft.com/office/powerpoint/2010/main" val="4518654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Основной">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663"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7" name="Text Box 14"/>
          <p:cNvSpPr txBox="1">
            <a:spLocks noChangeArrowheads="1"/>
          </p:cNvSpPr>
          <p:nvPr userDrawn="1"/>
        </p:nvSpPr>
        <p:spPr bwMode="auto">
          <a:xfrm>
            <a:off x="-74083" y="6669361"/>
            <a:ext cx="4978400" cy="276999"/>
          </a:xfrm>
          <a:prstGeom prst="rect">
            <a:avLst/>
          </a:prstGeom>
          <a:noFill/>
          <a:ln>
            <a:noFill/>
          </a:ln>
        </p:spPr>
        <p:txBody>
          <a:bodyPr>
            <a:spAutoFit/>
          </a:bodyPr>
          <a:lstStyle>
            <a:lvl1pPr marL="173038" indent="-173038" eaLnBrk="0" hangingPunct="0">
              <a:defRPr>
                <a:solidFill>
                  <a:schemeClr val="tx1"/>
                </a:solidFill>
                <a:latin typeface="Franklin Gothic Book" pitchFamily="34" charset="0"/>
              </a:defRPr>
            </a:lvl1pPr>
            <a:lvl2pPr marL="742950" indent="-285750" eaLnBrk="0" hangingPunct="0">
              <a:defRPr>
                <a:solidFill>
                  <a:schemeClr val="tx1"/>
                </a:solidFill>
                <a:latin typeface="Franklin Gothic Book" pitchFamily="34" charset="0"/>
              </a:defRPr>
            </a:lvl2pPr>
            <a:lvl3pPr marL="1143000" indent="-228600" eaLnBrk="0" hangingPunct="0">
              <a:defRPr>
                <a:solidFill>
                  <a:schemeClr val="tx1"/>
                </a:solidFill>
                <a:latin typeface="Franklin Gothic Book" pitchFamily="34" charset="0"/>
              </a:defRPr>
            </a:lvl3pPr>
            <a:lvl4pPr marL="1600200" indent="-228600" eaLnBrk="0" hangingPunct="0">
              <a:defRPr>
                <a:solidFill>
                  <a:schemeClr val="tx1"/>
                </a:solidFill>
                <a:latin typeface="Franklin Gothic Book" pitchFamily="34" charset="0"/>
              </a:defRPr>
            </a:lvl4pPr>
            <a:lvl5pPr marL="2057400" indent="-228600" eaLnBrk="0" hangingPunct="0">
              <a:defRPr>
                <a:solidFill>
                  <a:schemeClr val="tx1"/>
                </a:solidFill>
                <a:latin typeface="Franklin Gothic Book" pitchFamily="34" charset="0"/>
              </a:defRPr>
            </a:lvl5pPr>
            <a:lvl6pPr marL="2514600" indent="-228600" eaLnBrk="0" fontAlgn="base" hangingPunct="0">
              <a:spcBef>
                <a:spcPct val="0"/>
              </a:spcBef>
              <a:spcAft>
                <a:spcPct val="0"/>
              </a:spcAft>
              <a:defRPr>
                <a:solidFill>
                  <a:schemeClr val="tx1"/>
                </a:solidFill>
                <a:latin typeface="Franklin Gothic Book" pitchFamily="34" charset="0"/>
              </a:defRPr>
            </a:lvl6pPr>
            <a:lvl7pPr marL="2971800" indent="-228600" eaLnBrk="0" fontAlgn="base" hangingPunct="0">
              <a:spcBef>
                <a:spcPct val="0"/>
              </a:spcBef>
              <a:spcAft>
                <a:spcPct val="0"/>
              </a:spcAft>
              <a:defRPr>
                <a:solidFill>
                  <a:schemeClr val="tx1"/>
                </a:solidFill>
                <a:latin typeface="Franklin Gothic Book" pitchFamily="34" charset="0"/>
              </a:defRPr>
            </a:lvl7pPr>
            <a:lvl8pPr marL="3429000" indent="-228600" eaLnBrk="0" fontAlgn="base" hangingPunct="0">
              <a:spcBef>
                <a:spcPct val="0"/>
              </a:spcBef>
              <a:spcAft>
                <a:spcPct val="0"/>
              </a:spcAft>
              <a:defRPr>
                <a:solidFill>
                  <a:schemeClr val="tx1"/>
                </a:solidFill>
                <a:latin typeface="Franklin Gothic Book" pitchFamily="34" charset="0"/>
              </a:defRPr>
            </a:lvl8pPr>
            <a:lvl9pPr marL="3886200" indent="-228600" eaLnBrk="0" fontAlgn="base" hangingPunct="0">
              <a:spcBef>
                <a:spcPct val="0"/>
              </a:spcBef>
              <a:spcAft>
                <a:spcPct val="0"/>
              </a:spcAft>
              <a:defRPr>
                <a:solidFill>
                  <a:schemeClr val="tx1"/>
                </a:solidFill>
                <a:latin typeface="Franklin Gothic Book" pitchFamily="34" charset="0"/>
              </a:defRPr>
            </a:lvl9pPr>
          </a:lstStyle>
          <a:p>
            <a:pPr eaLnBrk="1" hangingPunct="1">
              <a:spcBef>
                <a:spcPct val="50000"/>
              </a:spcBef>
              <a:defRPr/>
            </a:pPr>
            <a:r>
              <a:rPr lang="ru-RU" sz="1200" dirty="0">
                <a:solidFill>
                  <a:prstClr val="white">
                    <a:lumMod val="50000"/>
                  </a:prstClr>
                </a:solidFill>
                <a:latin typeface="Calibri" pitchFamily="34" charset="0"/>
                <a:cs typeface="Calibri" pitchFamily="34" charset="0"/>
              </a:rPr>
              <a:t>© Казначейство</a:t>
            </a:r>
            <a:endParaRPr lang="en-US" sz="1200" dirty="0">
              <a:solidFill>
                <a:prstClr val="white">
                  <a:lumMod val="50000"/>
                </a:prstClr>
              </a:solidFill>
              <a:latin typeface="Calibri" pitchFamily="34" charset="0"/>
              <a:cs typeface="Calibri" pitchFamily="34" charset="0"/>
            </a:endParaRPr>
          </a:p>
        </p:txBody>
      </p:sp>
      <p:sp>
        <p:nvSpPr>
          <p:cNvPr id="9" name="Параллелограмм 8"/>
          <p:cNvSpPr/>
          <p:nvPr userDrawn="1"/>
        </p:nvSpPr>
        <p:spPr bwMode="auto">
          <a:xfrm>
            <a:off x="11623632"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Tree>
    <p:extLst>
      <p:ext uri="{BB962C8B-B14F-4D97-AF65-F5344CB8AC3E}">
        <p14:creationId xmlns:p14="http://schemas.microsoft.com/office/powerpoint/2010/main" val="15894611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Чужие слайды">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663"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9" name="Параллелограмм 8"/>
          <p:cNvSpPr/>
          <p:nvPr userDrawn="1"/>
        </p:nvSpPr>
        <p:spPr bwMode="auto">
          <a:xfrm>
            <a:off x="11623632"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Tree>
    <p:extLst>
      <p:ext uri="{BB962C8B-B14F-4D97-AF65-F5344CB8AC3E}">
        <p14:creationId xmlns:p14="http://schemas.microsoft.com/office/powerpoint/2010/main" val="40849129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257548" y="6126265"/>
            <a:ext cx="521496" cy="365125"/>
          </a:xfrm>
          <a:prstGeom prst="rect">
            <a:avLst/>
          </a:prstGeom>
        </p:spPr>
        <p:txBody>
          <a:bodyPr/>
          <a:lstStyle/>
          <a:p>
            <a:fld id="{054C8753-49EE-4AA4-B7F7-004F2534EA1E}" type="slidenum">
              <a:rPr lang="ru-RU" smtClean="0"/>
              <a:t>‹#›</a:t>
            </a:fld>
            <a:endParaRPr lang="ru-RU" dirty="0"/>
          </a:p>
        </p:txBody>
      </p:sp>
    </p:spTree>
    <p:extLst>
      <p:ext uri="{BB962C8B-B14F-4D97-AF65-F5344CB8AC3E}">
        <p14:creationId xmlns:p14="http://schemas.microsoft.com/office/powerpoint/2010/main" val="238934445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_Основной">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679"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7" name="Text Box 14"/>
          <p:cNvSpPr txBox="1">
            <a:spLocks noChangeArrowheads="1"/>
          </p:cNvSpPr>
          <p:nvPr userDrawn="1"/>
        </p:nvSpPr>
        <p:spPr bwMode="auto">
          <a:xfrm>
            <a:off x="-74083" y="6669361"/>
            <a:ext cx="4978400" cy="276999"/>
          </a:xfrm>
          <a:prstGeom prst="rect">
            <a:avLst/>
          </a:prstGeom>
          <a:noFill/>
          <a:ln>
            <a:noFill/>
          </a:ln>
        </p:spPr>
        <p:txBody>
          <a:bodyPr>
            <a:spAutoFit/>
          </a:bodyPr>
          <a:lstStyle>
            <a:lvl1pPr marL="173038" indent="-173038" eaLnBrk="0" hangingPunct="0">
              <a:defRPr>
                <a:solidFill>
                  <a:schemeClr val="tx1"/>
                </a:solidFill>
                <a:latin typeface="Franklin Gothic Book" pitchFamily="34" charset="0"/>
              </a:defRPr>
            </a:lvl1pPr>
            <a:lvl2pPr marL="742950" indent="-285750" eaLnBrk="0" hangingPunct="0">
              <a:defRPr>
                <a:solidFill>
                  <a:schemeClr val="tx1"/>
                </a:solidFill>
                <a:latin typeface="Franklin Gothic Book" pitchFamily="34" charset="0"/>
              </a:defRPr>
            </a:lvl2pPr>
            <a:lvl3pPr marL="1143000" indent="-228600" eaLnBrk="0" hangingPunct="0">
              <a:defRPr>
                <a:solidFill>
                  <a:schemeClr val="tx1"/>
                </a:solidFill>
                <a:latin typeface="Franklin Gothic Book" pitchFamily="34" charset="0"/>
              </a:defRPr>
            </a:lvl3pPr>
            <a:lvl4pPr marL="1600200" indent="-228600" eaLnBrk="0" hangingPunct="0">
              <a:defRPr>
                <a:solidFill>
                  <a:schemeClr val="tx1"/>
                </a:solidFill>
                <a:latin typeface="Franklin Gothic Book" pitchFamily="34" charset="0"/>
              </a:defRPr>
            </a:lvl4pPr>
            <a:lvl5pPr marL="2057400" indent="-228600" eaLnBrk="0" hangingPunct="0">
              <a:defRPr>
                <a:solidFill>
                  <a:schemeClr val="tx1"/>
                </a:solidFill>
                <a:latin typeface="Franklin Gothic Book" pitchFamily="34" charset="0"/>
              </a:defRPr>
            </a:lvl5pPr>
            <a:lvl6pPr marL="2514600" indent="-228600" eaLnBrk="0" fontAlgn="base" hangingPunct="0">
              <a:spcBef>
                <a:spcPct val="0"/>
              </a:spcBef>
              <a:spcAft>
                <a:spcPct val="0"/>
              </a:spcAft>
              <a:defRPr>
                <a:solidFill>
                  <a:schemeClr val="tx1"/>
                </a:solidFill>
                <a:latin typeface="Franklin Gothic Book" pitchFamily="34" charset="0"/>
              </a:defRPr>
            </a:lvl6pPr>
            <a:lvl7pPr marL="2971800" indent="-228600" eaLnBrk="0" fontAlgn="base" hangingPunct="0">
              <a:spcBef>
                <a:spcPct val="0"/>
              </a:spcBef>
              <a:spcAft>
                <a:spcPct val="0"/>
              </a:spcAft>
              <a:defRPr>
                <a:solidFill>
                  <a:schemeClr val="tx1"/>
                </a:solidFill>
                <a:latin typeface="Franklin Gothic Book" pitchFamily="34" charset="0"/>
              </a:defRPr>
            </a:lvl7pPr>
            <a:lvl8pPr marL="3429000" indent="-228600" eaLnBrk="0" fontAlgn="base" hangingPunct="0">
              <a:spcBef>
                <a:spcPct val="0"/>
              </a:spcBef>
              <a:spcAft>
                <a:spcPct val="0"/>
              </a:spcAft>
              <a:defRPr>
                <a:solidFill>
                  <a:schemeClr val="tx1"/>
                </a:solidFill>
                <a:latin typeface="Franklin Gothic Book" pitchFamily="34" charset="0"/>
              </a:defRPr>
            </a:lvl8pPr>
            <a:lvl9pPr marL="3886200" indent="-228600" eaLnBrk="0" fontAlgn="base" hangingPunct="0">
              <a:spcBef>
                <a:spcPct val="0"/>
              </a:spcBef>
              <a:spcAft>
                <a:spcPct val="0"/>
              </a:spcAft>
              <a:defRPr>
                <a:solidFill>
                  <a:schemeClr val="tx1"/>
                </a:solidFill>
                <a:latin typeface="Franklin Gothic Book" pitchFamily="34" charset="0"/>
              </a:defRPr>
            </a:lvl9pPr>
          </a:lstStyle>
          <a:p>
            <a:pPr eaLnBrk="1" hangingPunct="1">
              <a:spcBef>
                <a:spcPct val="50000"/>
              </a:spcBef>
              <a:defRPr/>
            </a:pPr>
            <a:r>
              <a:rPr lang="ru-RU" sz="1200" dirty="0">
                <a:solidFill>
                  <a:prstClr val="black"/>
                </a:solidFill>
                <a:latin typeface="Calibri" pitchFamily="34" charset="0"/>
                <a:cs typeface="Calibri" pitchFamily="34" charset="0"/>
              </a:rPr>
              <a:t>© Департамент финансов</a:t>
            </a:r>
            <a:endParaRPr lang="en-US" sz="1200" dirty="0">
              <a:solidFill>
                <a:prstClr val="black"/>
              </a:solidFill>
              <a:latin typeface="Calibri" pitchFamily="34" charset="0"/>
              <a:cs typeface="Calibri" pitchFamily="34" charset="0"/>
            </a:endParaRPr>
          </a:p>
        </p:txBody>
      </p:sp>
      <p:sp>
        <p:nvSpPr>
          <p:cNvPr id="9" name="Параллелограмм 8"/>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Tree>
    <p:extLst>
      <p:ext uri="{BB962C8B-B14F-4D97-AF65-F5344CB8AC3E}">
        <p14:creationId xmlns:p14="http://schemas.microsoft.com/office/powerpoint/2010/main" val="33608648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Содержание">
    <p:spTree>
      <p:nvGrpSpPr>
        <p:cNvPr id="1" name=""/>
        <p:cNvGrpSpPr/>
        <p:nvPr/>
      </p:nvGrpSpPr>
      <p:grpSpPr>
        <a:xfrm>
          <a:off x="0" y="0"/>
          <a:ext cx="0" cy="0"/>
          <a:chOff x="0" y="0"/>
          <a:chExt cx="0" cy="0"/>
        </a:xfrm>
      </p:grpSpPr>
      <p:sp>
        <p:nvSpPr>
          <p:cNvPr id="23" name="Параллелограмм 22"/>
          <p:cNvSpPr>
            <a:spLocks/>
          </p:cNvSpPr>
          <p:nvPr userDrawn="1"/>
        </p:nvSpPr>
        <p:spPr bwMode="auto">
          <a:xfrm>
            <a:off x="239392" y="-27384"/>
            <a:ext cx="384000"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19" name="Параллелограмм 18"/>
          <p:cNvSpPr/>
          <p:nvPr userDrawn="1"/>
        </p:nvSpPr>
        <p:spPr bwMode="auto">
          <a:xfrm>
            <a:off x="71392" y="44624"/>
            <a:ext cx="336000" cy="468000"/>
          </a:xfrm>
          <a:prstGeom prst="parallelogram">
            <a:avLst>
              <a:gd name="adj" fmla="val 77525"/>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6" name="Параллелограмм 5"/>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7" name="Параллелограмм 6"/>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Tree>
    <p:extLst>
      <p:ext uri="{BB962C8B-B14F-4D97-AF65-F5344CB8AC3E}">
        <p14:creationId xmlns:p14="http://schemas.microsoft.com/office/powerpoint/2010/main" val="302020385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CZAR2014_Обычный слайд">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507"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fontAlgn="auto">
              <a:spcBef>
                <a:spcPts val="0"/>
              </a:spcBef>
              <a:spcAft>
                <a:spcPts val="0"/>
              </a:spcAft>
            </a:pPr>
            <a:endParaRPr lang="ru-RU" sz="2000" kern="0" dirty="0">
              <a:solidFill>
                <a:srgbClr val="FFFFFF"/>
              </a:solidFill>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fontAlgn="auto">
              <a:spcBef>
                <a:spcPts val="0"/>
              </a:spcBef>
              <a:spcAft>
                <a:spcPts val="0"/>
              </a:spcAft>
            </a:pPr>
            <a:endParaRPr lang="ru-RU" sz="2000" kern="0" dirty="0">
              <a:solidFill>
                <a:srgbClr val="FFFFFF"/>
              </a:solidFill>
              <a:latin typeface="Fedra Sans Pro Book"/>
            </a:endParaRPr>
          </a:p>
        </p:txBody>
      </p:sp>
      <p:sp>
        <p:nvSpPr>
          <p:cNvPr id="7" name="Text Box 14"/>
          <p:cNvSpPr txBox="1">
            <a:spLocks noChangeArrowheads="1"/>
          </p:cNvSpPr>
          <p:nvPr userDrawn="1"/>
        </p:nvSpPr>
        <p:spPr bwMode="auto">
          <a:xfrm>
            <a:off x="-74083" y="6669361"/>
            <a:ext cx="4978400" cy="276999"/>
          </a:xfrm>
          <a:prstGeom prst="rect">
            <a:avLst/>
          </a:prstGeom>
          <a:noFill/>
          <a:ln>
            <a:noFill/>
          </a:ln>
        </p:spPr>
        <p:txBody>
          <a:bodyPr>
            <a:spAutoFit/>
          </a:bodyPr>
          <a:lstStyle>
            <a:lvl1pPr marL="173038" indent="-173038" eaLnBrk="0" hangingPunct="0">
              <a:defRPr>
                <a:solidFill>
                  <a:schemeClr val="tx1"/>
                </a:solidFill>
                <a:latin typeface="Franklin Gothic Book" pitchFamily="34" charset="0"/>
              </a:defRPr>
            </a:lvl1pPr>
            <a:lvl2pPr marL="742950" indent="-285750" eaLnBrk="0" hangingPunct="0">
              <a:defRPr>
                <a:solidFill>
                  <a:schemeClr val="tx1"/>
                </a:solidFill>
                <a:latin typeface="Franklin Gothic Book" pitchFamily="34" charset="0"/>
              </a:defRPr>
            </a:lvl2pPr>
            <a:lvl3pPr marL="1143000" indent="-228600" eaLnBrk="0" hangingPunct="0">
              <a:defRPr>
                <a:solidFill>
                  <a:schemeClr val="tx1"/>
                </a:solidFill>
                <a:latin typeface="Franklin Gothic Book" pitchFamily="34" charset="0"/>
              </a:defRPr>
            </a:lvl3pPr>
            <a:lvl4pPr marL="1600200" indent="-228600" eaLnBrk="0" hangingPunct="0">
              <a:defRPr>
                <a:solidFill>
                  <a:schemeClr val="tx1"/>
                </a:solidFill>
                <a:latin typeface="Franklin Gothic Book" pitchFamily="34" charset="0"/>
              </a:defRPr>
            </a:lvl4pPr>
            <a:lvl5pPr marL="2057400" indent="-228600" eaLnBrk="0" hangingPunct="0">
              <a:defRPr>
                <a:solidFill>
                  <a:schemeClr val="tx1"/>
                </a:solidFill>
                <a:latin typeface="Franklin Gothic Book" pitchFamily="34" charset="0"/>
              </a:defRPr>
            </a:lvl5pPr>
            <a:lvl6pPr marL="2514600" indent="-228600" eaLnBrk="0" fontAlgn="base" hangingPunct="0">
              <a:spcBef>
                <a:spcPct val="0"/>
              </a:spcBef>
              <a:spcAft>
                <a:spcPct val="0"/>
              </a:spcAft>
              <a:defRPr>
                <a:solidFill>
                  <a:schemeClr val="tx1"/>
                </a:solidFill>
                <a:latin typeface="Franklin Gothic Book" pitchFamily="34" charset="0"/>
              </a:defRPr>
            </a:lvl6pPr>
            <a:lvl7pPr marL="2971800" indent="-228600" eaLnBrk="0" fontAlgn="base" hangingPunct="0">
              <a:spcBef>
                <a:spcPct val="0"/>
              </a:spcBef>
              <a:spcAft>
                <a:spcPct val="0"/>
              </a:spcAft>
              <a:defRPr>
                <a:solidFill>
                  <a:schemeClr val="tx1"/>
                </a:solidFill>
                <a:latin typeface="Franklin Gothic Book" pitchFamily="34" charset="0"/>
              </a:defRPr>
            </a:lvl7pPr>
            <a:lvl8pPr marL="3429000" indent="-228600" eaLnBrk="0" fontAlgn="base" hangingPunct="0">
              <a:spcBef>
                <a:spcPct val="0"/>
              </a:spcBef>
              <a:spcAft>
                <a:spcPct val="0"/>
              </a:spcAft>
              <a:defRPr>
                <a:solidFill>
                  <a:schemeClr val="tx1"/>
                </a:solidFill>
                <a:latin typeface="Franklin Gothic Book" pitchFamily="34" charset="0"/>
              </a:defRPr>
            </a:lvl8pPr>
            <a:lvl9pPr marL="3886200" indent="-228600" eaLnBrk="0" fontAlgn="base" hangingPunct="0">
              <a:spcBef>
                <a:spcPct val="0"/>
              </a:spcBef>
              <a:spcAft>
                <a:spcPct val="0"/>
              </a:spcAft>
              <a:defRPr>
                <a:solidFill>
                  <a:schemeClr val="tx1"/>
                </a:solidFill>
                <a:latin typeface="Franklin Gothic Book" pitchFamily="34" charset="0"/>
              </a:defRPr>
            </a:lvl9pPr>
          </a:lstStyle>
          <a:p>
            <a:pPr eaLnBrk="1" fontAlgn="auto" hangingPunct="1">
              <a:spcBef>
                <a:spcPct val="50000"/>
              </a:spcBef>
              <a:spcAft>
                <a:spcPts val="0"/>
              </a:spcAft>
              <a:defRPr/>
            </a:pPr>
            <a:r>
              <a:rPr lang="ru-RU" sz="1200" dirty="0">
                <a:solidFill>
                  <a:prstClr val="white">
                    <a:lumMod val="50000"/>
                  </a:prstClr>
                </a:solidFill>
                <a:latin typeface="Calibri" pitchFamily="34" charset="0"/>
                <a:cs typeface="Calibri" pitchFamily="34" charset="0"/>
              </a:rPr>
              <a:t>Казначейство</a:t>
            </a:r>
            <a:endParaRPr lang="en-US" sz="1200" dirty="0">
              <a:solidFill>
                <a:prstClr val="white">
                  <a:lumMod val="50000"/>
                </a:prstClr>
              </a:solidFill>
              <a:latin typeface="Calibri" pitchFamily="34" charset="0"/>
              <a:cs typeface="Calibri" pitchFamily="34" charset="0"/>
            </a:endParaRPr>
          </a:p>
        </p:txBody>
      </p:sp>
      <p:sp>
        <p:nvSpPr>
          <p:cNvPr id="13" name="Параллелограмм 12"/>
          <p:cNvSpPr>
            <a:spLocks/>
          </p:cNvSpPr>
          <p:nvPr userDrawn="1"/>
        </p:nvSpPr>
        <p:spPr bwMode="auto">
          <a:xfrm>
            <a:off x="11519228" y="6544797"/>
            <a:ext cx="350400" cy="325880"/>
          </a:xfrm>
          <a:prstGeom prst="parallelogram">
            <a:avLst>
              <a:gd name="adj" fmla="val 55062"/>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fontAlgn="auto">
              <a:spcBef>
                <a:spcPts val="0"/>
              </a:spcBef>
              <a:spcAft>
                <a:spcPts val="0"/>
              </a:spcAft>
            </a:pPr>
            <a:endParaRPr lang="ru-RU" sz="2000" kern="0" dirty="0">
              <a:solidFill>
                <a:srgbClr val="FFFFFF"/>
              </a:solidFill>
              <a:latin typeface="Fedra Sans Pro Book"/>
            </a:endParaRPr>
          </a:p>
        </p:txBody>
      </p:sp>
      <p:sp>
        <p:nvSpPr>
          <p:cNvPr id="14" name="Параллелограмм 13"/>
          <p:cNvSpPr/>
          <p:nvPr userDrawn="1"/>
        </p:nvSpPr>
        <p:spPr bwMode="auto">
          <a:xfrm>
            <a:off x="11649887" y="6453615"/>
            <a:ext cx="308620" cy="366563"/>
          </a:xfrm>
          <a:prstGeom prst="parallelogram">
            <a:avLst>
              <a:gd name="adj" fmla="val 70730"/>
            </a:avLst>
          </a:prstGeom>
          <a:gradFill flip="none" rotWithShape="1">
            <a:gsLst>
              <a:gs pos="0">
                <a:srgbClr val="AB331F"/>
              </a:gs>
              <a:gs pos="100000">
                <a:srgbClr val="DA4A32"/>
              </a:gs>
            </a:gsLst>
            <a:lin ang="0" scaled="1"/>
            <a:tileRect/>
          </a:gradFill>
          <a:ln w="9525" cap="flat" cmpd="sng" algn="ctr">
            <a:noFill/>
            <a:prstDash val="solid"/>
          </a:ln>
          <a:effectLst>
            <a:outerShdw blurRad="38100" dist="38100" dir="2700000" sx="87000" sy="87000" algn="tl" rotWithShape="0">
              <a:prstClr val="black">
                <a:alpha val="45000"/>
              </a:prstClr>
            </a:outerShdw>
          </a:effectLst>
        </p:spPr>
        <p:txBody>
          <a:bodyPr lIns="121893" tIns="60945" rIns="121893" bIns="60945" rtlCol="0" anchor="ctr"/>
          <a:lstStyle/>
          <a:p>
            <a:pPr algn="ctr" defTabSz="1038739" fontAlgn="auto">
              <a:spcBef>
                <a:spcPts val="0"/>
              </a:spcBef>
              <a:spcAft>
                <a:spcPts val="0"/>
              </a:spcAft>
            </a:pPr>
            <a:endParaRPr lang="ru-RU" sz="2000" kern="0" dirty="0">
              <a:solidFill>
                <a:srgbClr val="FFFFFF"/>
              </a:solidFill>
              <a:latin typeface="Fedra Sans Pro Book"/>
            </a:endParaRPr>
          </a:p>
        </p:txBody>
      </p:sp>
      <p:sp>
        <p:nvSpPr>
          <p:cNvPr id="10" name="Заголовок 1"/>
          <p:cNvSpPr>
            <a:spLocks noGrp="1"/>
          </p:cNvSpPr>
          <p:nvPr>
            <p:ph type="title"/>
          </p:nvPr>
        </p:nvSpPr>
        <p:spPr>
          <a:xfrm>
            <a:off x="239184" y="0"/>
            <a:ext cx="11343216" cy="620688"/>
          </a:xfrm>
          <a:prstGeom prst="rect">
            <a:avLst/>
          </a:prstGeom>
        </p:spPr>
        <p:txBody>
          <a:bodyPr lIns="108000" tIns="0" rIns="0" bIns="0" anchor="ctr"/>
          <a:lstStyle>
            <a:lvl1pPr>
              <a:defRPr>
                <a:solidFill>
                  <a:srgbClr val="3F3F3F"/>
                </a:solidFill>
              </a:defRPr>
            </a:lvl1pPr>
          </a:lstStyle>
          <a:p>
            <a:r>
              <a:rPr lang="ru-RU" dirty="0"/>
              <a:t>Образец заголовка</a:t>
            </a:r>
          </a:p>
        </p:txBody>
      </p:sp>
    </p:spTree>
    <p:extLst>
      <p:ext uri="{BB962C8B-B14F-4D97-AF65-F5344CB8AC3E}">
        <p14:creationId xmlns:p14="http://schemas.microsoft.com/office/powerpoint/2010/main" val="8987907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1_Пользовательский макет">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 imgW="471" imgH="472" progId="TCLayout.ActiveDocument.1">
                  <p:embed/>
                </p:oleObj>
              </mc:Choice>
              <mc:Fallback>
                <p:oleObj name="Слайд think-cell" r:id="rId4" imgW="471" imgH="472" progId="TCLayout.ActiveDocument.1">
                  <p:embed/>
                  <p:pic>
                    <p:nvPicPr>
                      <p:cNvPr id="5" name="Объект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Прямоугольник 3" hidden="1"/>
          <p:cNvSpPr/>
          <p:nvPr userDrawn="1">
            <p:custDataLst>
              <p:tags r:id="rId2"/>
            </p:custDataLst>
          </p:nvPr>
        </p:nvSpPr>
        <p:spPr>
          <a:xfrm>
            <a:off x="0" y="0"/>
            <a:ext cx="158750" cy="158750"/>
          </a:xfrm>
          <a:prstGeom prst="rect">
            <a:avLst/>
          </a:prstGeom>
          <a:solidFill>
            <a:schemeClr val="accent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ru-RU" sz="2000" b="0" i="0" baseline="0" dirty="0">
              <a:latin typeface="Segoe UI" panose="020B0502040204020203" pitchFamily="34" charset="0"/>
              <a:ea typeface="+mj-ea"/>
              <a:cs typeface="+mj-cs"/>
              <a:sym typeface="Segoe UI" panose="020B0502040204020203" pitchFamily="34" charset="0"/>
            </a:endParaRPr>
          </a:p>
        </p:txBody>
      </p:sp>
      <p:sp>
        <p:nvSpPr>
          <p:cNvPr id="2" name="Заголовок 1"/>
          <p:cNvSpPr>
            <a:spLocks noGrp="1"/>
          </p:cNvSpPr>
          <p:nvPr>
            <p:ph type="title"/>
          </p:nvPr>
        </p:nvSpPr>
        <p:spPr>
          <a:xfrm>
            <a:off x="391265" y="192075"/>
            <a:ext cx="10555873" cy="276999"/>
          </a:xfrm>
        </p:spPr>
        <p:txBody>
          <a:bodyPr/>
          <a:lstStyle>
            <a:lvl1pPr>
              <a:defRPr sz="2000"/>
            </a:lvl1pPr>
          </a:lstStyle>
          <a:p>
            <a:r>
              <a:rPr lang="ru-RU"/>
              <a:t>Образец заголовка</a:t>
            </a:r>
            <a:endParaRPr lang="ru-RU" dirty="0"/>
          </a:p>
        </p:txBody>
      </p:sp>
      <p:sp>
        <p:nvSpPr>
          <p:cNvPr id="3" name="Номер слайда 2"/>
          <p:cNvSpPr>
            <a:spLocks noGrp="1"/>
          </p:cNvSpPr>
          <p:nvPr>
            <p:ph type="sldNum" sz="quarter" idx="10"/>
          </p:nvPr>
        </p:nvSpPr>
        <p:spPr>
          <a:xfrm>
            <a:off x="11810470" y="6576020"/>
            <a:ext cx="589856" cy="365125"/>
          </a:xfrm>
          <a:prstGeom prst="rect">
            <a:avLst/>
          </a:prstGeom>
        </p:spPr>
        <p:txBody>
          <a:bodyPr/>
          <a:lstStyle/>
          <a:p>
            <a:fld id="{B19B0651-EE4F-4900-A07F-96A6BFA9D0F0}" type="slidenum">
              <a:rPr lang="ru-RU" smtClean="0">
                <a:solidFill>
                  <a:prstClr val="black">
                    <a:tint val="75000"/>
                  </a:prstClr>
                </a:solidFill>
              </a:rPr>
              <a:pPr/>
              <a:t>‹#›</a:t>
            </a:fld>
            <a:endParaRPr lang="ru-RU" dirty="0">
              <a:solidFill>
                <a:prstClr val="black">
                  <a:tint val="75000"/>
                </a:prstClr>
              </a:solidFill>
            </a:endParaRPr>
          </a:p>
        </p:txBody>
      </p:sp>
      <p:pic>
        <p:nvPicPr>
          <p:cNvPr id="2167" name="Рисунок 2166"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68" name="Рисунок 2167"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69" name="Рисунок 2168"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0" name="Рисунок 2169"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1" name="Рисунок 2170"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2" name="Рисунок 2171"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3" name="Рисунок 2172"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4" name="Рисунок 2173"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5" name="Рисунок 2174"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6" name="Рисунок 2175"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7" name="Рисунок 2176"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8" name="Рисунок 2177"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spTree>
    <p:extLst>
      <p:ext uri="{BB962C8B-B14F-4D97-AF65-F5344CB8AC3E}">
        <p14:creationId xmlns:p14="http://schemas.microsoft.com/office/powerpoint/2010/main" val="34196907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257548" y="6126265"/>
            <a:ext cx="521496" cy="365125"/>
          </a:xfrm>
          <a:prstGeom prst="rect">
            <a:avLst/>
          </a:prstGeom>
        </p:spPr>
        <p:txBody>
          <a:bodyPr/>
          <a:lstStyle/>
          <a:p>
            <a:fld id="{054C8753-49EE-4AA4-B7F7-004F2534EA1E}" type="slidenum">
              <a:rPr lang="ru-RU" smtClean="0"/>
              <a:pPr/>
              <a:t>‹#›</a:t>
            </a:fld>
            <a:endParaRPr lang="ru-RU" dirty="0"/>
          </a:p>
        </p:txBody>
      </p:sp>
      <p:pic>
        <p:nvPicPr>
          <p:cNvPr id="4" name="Рисунок 3" descr="http://93A7C4B339CCDD211E158032049A3A49.dms.sberbank.ru/93A7C4B339CCDD211E158032049A3A49-048609E64F524779FACC06A290525D57-028113238EC6D8AC5E862ACF66077798/1.png"/>
          <p:cNvPicPr>
            <a:picLocks/>
          </p:cNvPicPr>
          <p:nvPr userDrawn="1"/>
        </p:nvPicPr>
        <p:blipFill>
          <a:blip r:link="rId2"/>
          <a:stretch>
            <a:fillRect/>
          </a:stretch>
        </p:blipFill>
        <p:spPr>
          <a:xfrm>
            <a:off x="0" y="0"/>
            <a:ext cx="1588" cy="1588"/>
          </a:xfrm>
          <a:prstGeom prst="rect">
            <a:avLst/>
          </a:prstGeom>
        </p:spPr>
      </p:pic>
      <p:pic>
        <p:nvPicPr>
          <p:cNvPr id="5" name="Рисунок 4" descr="http://93A7C4B339CCDD211E158032049A3A49.dms.sberbank.ru/93A7C4B339CCDD211E158032049A3A49-048609E64F524779FACC06A290525D57-028113238EC6D8AC5E862ACF66077798/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24175864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727696" y="6126265"/>
            <a:ext cx="521496" cy="365125"/>
          </a:xfrm>
          <a:prstGeom prst="rect">
            <a:avLst/>
          </a:prstGeom>
        </p:spPr>
        <p:txBody>
          <a:bodyPr/>
          <a:lstStyle/>
          <a:p>
            <a:fld id="{054C8753-49EE-4AA4-B7F7-004F2534EA1E}" type="slidenum">
              <a:rPr lang="ru-RU" smtClean="0"/>
              <a:t>‹#›</a:t>
            </a:fld>
            <a:endParaRPr lang="ru-RU" dirty="0"/>
          </a:p>
        </p:txBody>
      </p:sp>
    </p:spTree>
    <p:extLst>
      <p:ext uri="{BB962C8B-B14F-4D97-AF65-F5344CB8AC3E}">
        <p14:creationId xmlns:p14="http://schemas.microsoft.com/office/powerpoint/2010/main" val="18395162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727696" y="6126265"/>
            <a:ext cx="521496" cy="365125"/>
          </a:xfrm>
          <a:prstGeom prst="rect">
            <a:avLst/>
          </a:prstGeom>
        </p:spPr>
        <p:txBody>
          <a:bodyPr/>
          <a:lstStyle/>
          <a:p>
            <a:fld id="{054C8753-49EE-4AA4-B7F7-004F2534EA1E}" type="slidenum">
              <a:rPr lang="ru-RU" smtClean="0"/>
              <a:pPr/>
              <a:t>‹#›</a:t>
            </a:fld>
            <a:endParaRPr lang="ru-RU" dirty="0"/>
          </a:p>
        </p:txBody>
      </p:sp>
    </p:spTree>
    <p:extLst>
      <p:ext uri="{BB962C8B-B14F-4D97-AF65-F5344CB8AC3E}">
        <p14:creationId xmlns:p14="http://schemas.microsoft.com/office/powerpoint/2010/main" val="38047856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257548" y="6126265"/>
            <a:ext cx="521496" cy="365125"/>
          </a:xfrm>
          <a:prstGeom prst="rect">
            <a:avLst/>
          </a:prstGeom>
        </p:spPr>
        <p:txBody>
          <a:bodyPr/>
          <a:lstStyle/>
          <a:p>
            <a:fld id="{054C8753-49EE-4AA4-B7F7-004F2534EA1E}" type="slidenum">
              <a:rPr lang="ru-RU" smtClean="0"/>
              <a:t>‹#›</a:t>
            </a:fld>
            <a:endParaRPr lang="ru-RU" dirty="0"/>
          </a:p>
        </p:txBody>
      </p:sp>
    </p:spTree>
    <p:extLst>
      <p:ext uri="{BB962C8B-B14F-4D97-AF65-F5344CB8AC3E}">
        <p14:creationId xmlns:p14="http://schemas.microsoft.com/office/powerpoint/2010/main" val="14580367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4.pn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2.pn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4.pn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7" Type="http://schemas.openxmlformats.org/officeDocument/2006/relationships/image" Target="../media/image2.pn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tags" Target="../tags/tag6.x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13.xml"/><Relationship Id="rId7" Type="http://schemas.openxmlformats.org/officeDocument/2006/relationships/tags" Target="../tags/tag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6.xml"/><Relationship Id="rId5" Type="http://schemas.openxmlformats.org/officeDocument/2006/relationships/slideLayout" Target="../slideLayouts/slideLayout15.xml"/><Relationship Id="rId4" Type="http://schemas.openxmlformats.org/officeDocument/2006/relationships/slideLayout" Target="../slideLayouts/slideLayout14.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9" Type="http://schemas.openxmlformats.org/officeDocument/2006/relationships/theme" Target="../theme/theme7.xml"/><Relationship Id="rId21" Type="http://schemas.openxmlformats.org/officeDocument/2006/relationships/slideLayout" Target="../slideLayouts/slideLayout36.xml"/><Relationship Id="rId34" Type="http://schemas.openxmlformats.org/officeDocument/2006/relationships/slideLayout" Target="../slideLayouts/slideLayout49.xml"/><Relationship Id="rId42" Type="http://schemas.openxmlformats.org/officeDocument/2006/relationships/image" Target="../media/image9.emf"/><Relationship Id="rId7" Type="http://schemas.openxmlformats.org/officeDocument/2006/relationships/slideLayout" Target="../slideLayouts/slideLayout2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41" Type="http://schemas.openxmlformats.org/officeDocument/2006/relationships/oleObject" Target="../embeddings/oleObject8.bin"/><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37" Type="http://schemas.openxmlformats.org/officeDocument/2006/relationships/slideLayout" Target="../slideLayouts/slideLayout52.xml"/><Relationship Id="rId40" Type="http://schemas.openxmlformats.org/officeDocument/2006/relationships/tags" Target="../tags/tag9.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slideLayout" Target="../slideLayouts/slideLayout51.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8" Type="http://schemas.openxmlformats.org/officeDocument/2006/relationships/slideLayout" Target="../slideLayouts/slideLayout23.xml"/><Relationship Id="rId3" Type="http://schemas.openxmlformats.org/officeDocument/2006/relationships/slideLayout" Target="../slideLayouts/slideLayout18.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4"/>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Слайд think-cell" r:id="rId5" imgW="359" imgH="360" progId="TCLayout.ActiveDocument.1">
                  <p:embed/>
                </p:oleObj>
              </mc:Choice>
              <mc:Fallback>
                <p:oleObj name="Слайд think-cell" r:id="rId5" imgW="359" imgH="360" progId="TCLayout.ActiveDocument.1">
                  <p:embed/>
                  <p:pic>
                    <p:nvPicPr>
                      <p:cNvPr id="2" name="Объект 1" hidden="1"/>
                      <p:cNvPicPr/>
                      <p:nvPr/>
                    </p:nvPicPr>
                    <p:blipFill>
                      <a:blip r:embed="rId6"/>
                      <a:stretch>
                        <a:fillRect/>
                      </a:stretch>
                    </p:blipFill>
                    <p:spPr>
                      <a:xfrm>
                        <a:off x="1589" y="1589"/>
                        <a:ext cx="1588" cy="1588"/>
                      </a:xfrm>
                      <a:prstGeom prst="rect">
                        <a:avLst/>
                      </a:prstGeom>
                    </p:spPr>
                  </p:pic>
                </p:oleObj>
              </mc:Fallback>
            </mc:AlternateContent>
          </a:graphicData>
        </a:graphic>
      </p:graphicFrame>
      <p:pic>
        <p:nvPicPr>
          <p:cNvPr id="7" name="Рисунок 6">
            <a:extLst>
              <a:ext uri="{FF2B5EF4-FFF2-40B4-BE49-F238E27FC236}">
                <a16:creationId xmlns:a16="http://schemas.microsoft.com/office/drawing/2014/main" id="{CF6EDF09-AA0D-4E85-B458-BF9CBED1E702}"/>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488312" y="6305821"/>
            <a:ext cx="1431224" cy="268739"/>
          </a:xfrm>
          <a:prstGeom prst="rect">
            <a:avLst/>
          </a:prstGeom>
        </p:spPr>
      </p:pic>
      <p:cxnSp>
        <p:nvCxnSpPr>
          <p:cNvPr id="8" name="Прямая соединительная линия 7">
            <a:extLst>
              <a:ext uri="{FF2B5EF4-FFF2-40B4-BE49-F238E27FC236}">
                <a16:creationId xmlns:a16="http://schemas.microsoft.com/office/drawing/2014/main" id="{C8B732FB-8A0E-4B58-9646-39B75236A086}"/>
              </a:ext>
            </a:extLst>
          </p:cNvPr>
          <p:cNvCxnSpPr>
            <a:cxnSpLocks/>
          </p:cNvCxnSpPr>
          <p:nvPr userDrawn="1"/>
        </p:nvCxnSpPr>
        <p:spPr>
          <a:xfrm>
            <a:off x="3503712" y="6440191"/>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A7E2D57-E406-4966-9E02-D34E6ED52C86}"/>
              </a:ext>
            </a:extLst>
          </p:cNvPr>
          <p:cNvSpPr txBox="1"/>
          <p:nvPr userDrawn="1"/>
        </p:nvSpPr>
        <p:spPr>
          <a:xfrm>
            <a:off x="2033412" y="6365263"/>
            <a:ext cx="2730131" cy="161711"/>
          </a:xfrm>
          <a:prstGeom prst="rect">
            <a:avLst/>
          </a:prstGeom>
          <a:noFill/>
        </p:spPr>
        <p:txBody>
          <a:bodyPr wrap="square" lIns="0" tIns="0" rIns="0" bIns="0" rtlCol="0">
            <a:spAutoFit/>
          </a:bodyPr>
          <a:lstStyle/>
          <a:p>
            <a:pPr defTabSz="0"/>
            <a:r>
              <a:rPr lang="en-US" sz="1051" dirty="0">
                <a:solidFill>
                  <a:srgbClr val="283A51"/>
                </a:solidFill>
                <a:latin typeface="Circe Light" panose="020B0402020203020203" pitchFamily="34" charset="-52"/>
              </a:rPr>
              <a:t>Earnings presentation</a:t>
            </a:r>
            <a:endParaRPr lang="ru-RU" sz="1051" dirty="0">
              <a:solidFill>
                <a:srgbClr val="283A51"/>
              </a:solidFill>
              <a:latin typeface="Circe Light" panose="020B0402020203020203" pitchFamily="34" charset="-52"/>
            </a:endParaRPr>
          </a:p>
        </p:txBody>
      </p:sp>
      <p:sp>
        <p:nvSpPr>
          <p:cNvPr id="10" name="Номер слайда 5">
            <a:extLst>
              <a:ext uri="{FF2B5EF4-FFF2-40B4-BE49-F238E27FC236}">
                <a16:creationId xmlns:a16="http://schemas.microsoft.com/office/drawing/2014/main" id="{60315CCD-8C7F-4E6F-9DE8-33C698769B17}"/>
              </a:ext>
            </a:extLst>
          </p:cNvPr>
          <p:cNvSpPr txBox="1">
            <a:spLocks/>
          </p:cNvSpPr>
          <p:nvPr userDrawn="1"/>
        </p:nvSpPr>
        <p:spPr>
          <a:xfrm>
            <a:off x="4151785" y="6263491"/>
            <a:ext cx="611759" cy="365125"/>
          </a:xfrm>
          <a:prstGeom prst="rect">
            <a:avLst/>
          </a:prstGeom>
        </p:spPr>
        <p:txBody>
          <a:bodyPr/>
          <a:lstStyle>
            <a:defPPr>
              <a:defRPr lang="ru-RU"/>
            </a:defPPr>
            <a:lvl1pPr>
              <a:defRPr sz="2000"/>
            </a:lvl1pPr>
          </a:lstStyle>
          <a:p>
            <a:pPr lvl="0"/>
            <a:fld id="{054C8753-49EE-4AA4-B7F7-004F2534EA1E}" type="slidenum">
              <a:rPr lang="ru-RU" sz="2000" smtClean="0"/>
              <a:pPr lvl="0"/>
              <a:t>‹#›</a:t>
            </a:fld>
            <a:endParaRPr lang="ru-RU" sz="2000" dirty="0"/>
          </a:p>
        </p:txBody>
      </p:sp>
    </p:spTree>
    <p:extLst>
      <p:ext uri="{BB962C8B-B14F-4D97-AF65-F5344CB8AC3E}">
        <p14:creationId xmlns:p14="http://schemas.microsoft.com/office/powerpoint/2010/main" val="3633158340"/>
      </p:ext>
    </p:extLst>
  </p:cSld>
  <p:clrMap bg1="lt1" tx1="dk1" bg2="lt2" tx2="dk2" accent1="accent1" accent2="accent2" accent3="accent3" accent4="accent4" accent5="accent5" accent6="accent6" hlink="hlink" folHlink="folHlink"/>
  <p:sldLayoutIdLst>
    <p:sldLayoutId id="2147483674" r:id="rId1"/>
    <p:sldLayoutId id="2147483675" r:id="rId2"/>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a:extLst>
              <a:ext uri="{FF2B5EF4-FFF2-40B4-BE49-F238E27FC236}">
                <a16:creationId xmlns:a16="http://schemas.microsoft.com/office/drawing/2014/main" id="{8409898E-CD35-0444-B7FF-823D90A040F7}"/>
              </a:ext>
            </a:extLst>
          </p:cNvPr>
          <p:cNvGraphicFramePr>
            <a:graphicFrameLocks noChangeAspect="1"/>
          </p:cNvGraphicFramePr>
          <p:nvPr userDrawn="1">
            <p:custDataLst>
              <p:tags r:id="rId4"/>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Слайд think-cell" r:id="rId5" imgW="7772400" imgH="10058400" progId="TCLayout.ActiveDocument.1">
                  <p:embed/>
                </p:oleObj>
              </mc:Choice>
              <mc:Fallback>
                <p:oleObj name="Слайд think-cell" r:id="rId5" imgW="7772400" imgH="10058400" progId="TCLayout.ActiveDocument.1">
                  <p:embed/>
                  <p:pic>
                    <p:nvPicPr>
                      <p:cNvPr id="2" name="Объект 1" hidden="1">
                        <a:extLst>
                          <a:ext uri="{FF2B5EF4-FFF2-40B4-BE49-F238E27FC236}">
                            <a16:creationId xmlns:a16="http://schemas.microsoft.com/office/drawing/2014/main" id="{8409898E-CD35-0444-B7FF-823D90A040F7}"/>
                          </a:ext>
                        </a:extLst>
                      </p:cNvPr>
                      <p:cNvPicPr/>
                      <p:nvPr/>
                    </p:nvPicPr>
                    <p:blipFill>
                      <a:blip r:embed="rId6"/>
                      <a:stretch>
                        <a:fillRect/>
                      </a:stretch>
                    </p:blipFill>
                    <p:spPr>
                      <a:xfrm>
                        <a:off x="1589" y="1589"/>
                        <a:ext cx="1587" cy="1587"/>
                      </a:xfrm>
                      <a:prstGeom prst="rect">
                        <a:avLst/>
                      </a:prstGeom>
                    </p:spPr>
                  </p:pic>
                </p:oleObj>
              </mc:Fallback>
            </mc:AlternateContent>
          </a:graphicData>
        </a:graphic>
      </p:graphicFrame>
      <p:cxnSp>
        <p:nvCxnSpPr>
          <p:cNvPr id="3" name="Прямая соединительная линия 2">
            <a:extLst>
              <a:ext uri="{FF2B5EF4-FFF2-40B4-BE49-F238E27FC236}">
                <a16:creationId xmlns:a16="http://schemas.microsoft.com/office/drawing/2014/main" id="{C8B732FB-8A0E-4B58-9646-39B75236A086}"/>
              </a:ext>
            </a:extLst>
          </p:cNvPr>
          <p:cNvCxnSpPr>
            <a:cxnSpLocks/>
          </p:cNvCxnSpPr>
          <p:nvPr userDrawn="1"/>
        </p:nvCxnSpPr>
        <p:spPr>
          <a:xfrm>
            <a:off x="3359696" y="6295576"/>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82F8F90-BF96-4BFE-883A-4458FA97B361}"/>
              </a:ext>
            </a:extLst>
          </p:cNvPr>
          <p:cNvSpPr txBox="1"/>
          <p:nvPr userDrawn="1"/>
        </p:nvSpPr>
        <p:spPr>
          <a:xfrm>
            <a:off x="1756133" y="6226807"/>
            <a:ext cx="3403764" cy="161711"/>
          </a:xfrm>
          <a:prstGeom prst="rect">
            <a:avLst/>
          </a:prstGeom>
          <a:noFill/>
        </p:spPr>
        <p:txBody>
          <a:bodyPr wrap="square" lIns="0" tIns="0" rIns="0" bIns="0" rtlCol="0">
            <a:spAutoFit/>
          </a:bodyPr>
          <a:lstStyle/>
          <a:p>
            <a:pPr defTabSz="0"/>
            <a:r>
              <a:rPr lang="ru-RU" sz="1051" dirty="0">
                <a:solidFill>
                  <a:srgbClr val="283A51"/>
                </a:solidFill>
                <a:latin typeface="Circe Light" panose="020B0402020203020203" pitchFamily="34" charset="-52"/>
              </a:rPr>
              <a:t>Итоги Группы по МСФО</a:t>
            </a:r>
          </a:p>
        </p:txBody>
      </p:sp>
      <p:sp>
        <p:nvSpPr>
          <p:cNvPr id="8" name="Номер слайда 29">
            <a:extLst>
              <a:ext uri="{FF2B5EF4-FFF2-40B4-BE49-F238E27FC236}">
                <a16:creationId xmlns:a16="http://schemas.microsoft.com/office/drawing/2014/main" id="{9E42A083-A0D0-7940-8508-DE315CE42248}"/>
              </a:ext>
            </a:extLst>
          </p:cNvPr>
          <p:cNvSpPr txBox="1">
            <a:spLocks/>
          </p:cNvSpPr>
          <p:nvPr userDrawn="1"/>
        </p:nvSpPr>
        <p:spPr>
          <a:xfrm>
            <a:off x="3791744" y="6131396"/>
            <a:ext cx="521496" cy="365125"/>
          </a:xfrm>
          <a:prstGeom prst="rect">
            <a:avLst/>
          </a:prstGeom>
        </p:spPr>
        <p:txBody>
          <a:bodyPr vert="horz" lIns="91440" tIns="45720" rIns="91440" bIns="45720" rtlCol="0" anchor="ctr"/>
          <a:lstStyle>
            <a:defPPr>
              <a:defRPr lang="ru-RU"/>
            </a:defPPr>
            <a:lvl1pPr marL="0" algn="l" defTabSz="914400" rtl="0" eaLnBrk="1" latinLnBrk="0" hangingPunct="1">
              <a:defRPr sz="1150" kern="1200">
                <a:solidFill>
                  <a:srgbClr val="283A51"/>
                </a:solidFill>
                <a:latin typeface="Circe Light" panose="020B0402020203020203" pitchFamily="34" charset="-52"/>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54C8753-49EE-4AA4-B7F7-004F2534EA1E}" type="slidenum">
              <a:rPr lang="ru-RU" sz="2000" smtClean="0"/>
              <a:pPr>
                <a:defRPr/>
              </a:pPr>
              <a:t>‹#›</a:t>
            </a:fld>
            <a:endParaRPr lang="ru-RU" sz="2000" dirty="0"/>
          </a:p>
        </p:txBody>
      </p:sp>
      <p:pic>
        <p:nvPicPr>
          <p:cNvPr id="10" name="Picture 4" descr="ÐÐ°ÑÑÐ¸Ð½ÐºÐ¸ Ð¿Ð¾ Ð·Ð°Ð¿ÑÐ¾ÑÑ sberbank logo">
            <a:extLst>
              <a:ext uri="{FF2B5EF4-FFF2-40B4-BE49-F238E27FC236}">
                <a16:creationId xmlns:a16="http://schemas.microsoft.com/office/drawing/2014/main" id="{8D39EAB9-1777-C341-83D4-69A63E531058}"/>
              </a:ext>
            </a:extLst>
          </p:cNvPr>
          <p:cNvPicPr>
            <a:picLocks noChangeAspect="1" noChangeArrowheads="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872" t="28488" r="7756" b="28536"/>
          <a:stretch/>
        </p:blipFill>
        <p:spPr bwMode="auto">
          <a:xfrm>
            <a:off x="317934" y="6118220"/>
            <a:ext cx="1352207" cy="361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745388"/>
      </p:ext>
    </p:extLst>
  </p:cSld>
  <p:clrMap bg1="lt1" tx1="dk1" bg2="lt2" tx2="dk2" accent1="accent1" accent2="accent2" accent3="accent3" accent4="accent4" accent5="accent5" accent6="accent6" hlink="hlink" folHlink="folHlink"/>
  <p:sldLayoutIdLst>
    <p:sldLayoutId id="2147483679" r:id="rId1"/>
    <p:sldLayoutId id="2147483680" r:id="rId2"/>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5" imgW="359" imgH="360" progId="TCLayout.ActiveDocument.1">
                  <p:embed/>
                </p:oleObj>
              </mc:Choice>
              <mc:Fallback>
                <p:oleObj name="Слайд think-cell" r:id="rId5" imgW="359" imgH="360" progId="TCLayout.ActiveDocument.1">
                  <p:embed/>
                  <p:pic>
                    <p:nvPicPr>
                      <p:cNvPr id="2" name="Объект 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Рисунок 6">
            <a:extLst>
              <a:ext uri="{FF2B5EF4-FFF2-40B4-BE49-F238E27FC236}">
                <a16:creationId xmlns:a16="http://schemas.microsoft.com/office/drawing/2014/main" id="{CF6EDF09-AA0D-4E85-B458-BF9CBED1E702}"/>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488312" y="6305821"/>
            <a:ext cx="1431224" cy="268739"/>
          </a:xfrm>
          <a:prstGeom prst="rect">
            <a:avLst/>
          </a:prstGeom>
        </p:spPr>
      </p:pic>
      <p:cxnSp>
        <p:nvCxnSpPr>
          <p:cNvPr id="8" name="Прямая соединительная линия 7">
            <a:extLst>
              <a:ext uri="{FF2B5EF4-FFF2-40B4-BE49-F238E27FC236}">
                <a16:creationId xmlns:a16="http://schemas.microsoft.com/office/drawing/2014/main" id="{C8B732FB-8A0E-4B58-9646-39B75236A086}"/>
              </a:ext>
            </a:extLst>
          </p:cNvPr>
          <p:cNvCxnSpPr>
            <a:cxnSpLocks/>
          </p:cNvCxnSpPr>
          <p:nvPr userDrawn="1"/>
        </p:nvCxnSpPr>
        <p:spPr>
          <a:xfrm>
            <a:off x="3503712" y="6440190"/>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A7E2D57-E406-4966-9E02-D34E6ED52C86}"/>
              </a:ext>
            </a:extLst>
          </p:cNvPr>
          <p:cNvSpPr txBox="1"/>
          <p:nvPr userDrawn="1"/>
        </p:nvSpPr>
        <p:spPr>
          <a:xfrm>
            <a:off x="2033412" y="6365262"/>
            <a:ext cx="2730130" cy="161583"/>
          </a:xfrm>
          <a:prstGeom prst="rect">
            <a:avLst/>
          </a:prstGeom>
          <a:noFill/>
        </p:spPr>
        <p:txBody>
          <a:bodyPr wrap="square" lIns="0" tIns="0" rIns="0" bIns="0" rtlCol="0">
            <a:spAutoFit/>
          </a:bodyPr>
          <a:lstStyle/>
          <a:p>
            <a:pPr defTabSz="0"/>
            <a:r>
              <a:rPr lang="en-US" sz="1050" dirty="0">
                <a:solidFill>
                  <a:srgbClr val="283A51"/>
                </a:solidFill>
                <a:latin typeface="Circe Light" panose="020B0402020203020203" pitchFamily="34" charset="-52"/>
              </a:rPr>
              <a:t>Earnings presentation</a:t>
            </a:r>
            <a:endParaRPr lang="ru-RU" sz="1050" dirty="0">
              <a:solidFill>
                <a:srgbClr val="283A51"/>
              </a:solidFill>
              <a:latin typeface="Circe Light" panose="020B0402020203020203" pitchFamily="34" charset="-52"/>
            </a:endParaRPr>
          </a:p>
        </p:txBody>
      </p:sp>
      <p:sp>
        <p:nvSpPr>
          <p:cNvPr id="10" name="Номер слайда 5">
            <a:extLst>
              <a:ext uri="{FF2B5EF4-FFF2-40B4-BE49-F238E27FC236}">
                <a16:creationId xmlns:a16="http://schemas.microsoft.com/office/drawing/2014/main" id="{60315CCD-8C7F-4E6F-9DE8-33C698769B17}"/>
              </a:ext>
            </a:extLst>
          </p:cNvPr>
          <p:cNvSpPr txBox="1">
            <a:spLocks/>
          </p:cNvSpPr>
          <p:nvPr userDrawn="1"/>
        </p:nvSpPr>
        <p:spPr>
          <a:xfrm>
            <a:off x="4151784" y="6263490"/>
            <a:ext cx="611758" cy="365125"/>
          </a:xfrm>
          <a:prstGeom prst="rect">
            <a:avLst/>
          </a:prstGeom>
        </p:spPr>
        <p:txBody>
          <a:bodyPr/>
          <a:lstStyle>
            <a:defPPr>
              <a:defRPr lang="ru-RU"/>
            </a:defPPr>
            <a:lvl1pPr>
              <a:defRPr sz="2000"/>
            </a:lvl1pPr>
          </a:lstStyle>
          <a:p>
            <a:pPr lvl="0"/>
            <a:fld id="{054C8753-49EE-4AA4-B7F7-004F2534EA1E}" type="slidenum">
              <a:rPr lang="ru-RU" smtClean="0"/>
              <a:pPr lvl="0"/>
              <a:t>‹#›</a:t>
            </a:fld>
            <a:endParaRPr lang="ru-RU" dirty="0"/>
          </a:p>
        </p:txBody>
      </p:sp>
    </p:spTree>
    <p:extLst>
      <p:ext uri="{BB962C8B-B14F-4D97-AF65-F5344CB8AC3E}">
        <p14:creationId xmlns:p14="http://schemas.microsoft.com/office/powerpoint/2010/main" val="987232082"/>
      </p:ext>
    </p:extLst>
  </p:cSld>
  <p:clrMap bg1="lt1" tx1="dk1" bg2="lt2" tx2="dk2" accent1="accent1" accent2="accent2" accent3="accent3" accent4="accent4" accent5="accent5" accent6="accent6" hlink="hlink" folHlink="folHlink"/>
  <p:sldLayoutIdLst>
    <p:sldLayoutId id="2147483686" r:id="rId1"/>
    <p:sldLayoutId id="2147483687"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a:extLst>
              <a:ext uri="{FF2B5EF4-FFF2-40B4-BE49-F238E27FC236}">
                <a16:creationId xmlns:a16="http://schemas.microsoft.com/office/drawing/2014/main" id="{8409898E-CD35-0444-B7FF-823D90A040F7}"/>
              </a:ext>
            </a:extLst>
          </p:cNvPr>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Слайд think-cell" r:id="rId5" imgW="7772400" imgH="10058400" progId="TCLayout.ActiveDocument.1">
                  <p:embed/>
                </p:oleObj>
              </mc:Choice>
              <mc:Fallback>
                <p:oleObj name="Слайд think-cell" r:id="rId5" imgW="7772400" imgH="10058400" progId="TCLayout.ActiveDocument.1">
                  <p:embed/>
                  <p:pic>
                    <p:nvPicPr>
                      <p:cNvPr id="2" name="Объект 1" hidden="1">
                        <a:extLst>
                          <a:ext uri="{FF2B5EF4-FFF2-40B4-BE49-F238E27FC236}">
                            <a16:creationId xmlns:a16="http://schemas.microsoft.com/office/drawing/2014/main" id="{8409898E-CD35-0444-B7FF-823D90A040F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3" name="Прямая соединительная линия 2">
            <a:extLst>
              <a:ext uri="{FF2B5EF4-FFF2-40B4-BE49-F238E27FC236}">
                <a16:creationId xmlns:a16="http://schemas.microsoft.com/office/drawing/2014/main" id="{C8B732FB-8A0E-4B58-9646-39B75236A086}"/>
              </a:ext>
            </a:extLst>
          </p:cNvPr>
          <p:cNvCxnSpPr>
            <a:cxnSpLocks/>
          </p:cNvCxnSpPr>
          <p:nvPr userDrawn="1"/>
        </p:nvCxnSpPr>
        <p:spPr>
          <a:xfrm>
            <a:off x="3359696" y="6295576"/>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82F8F90-BF96-4BFE-883A-4458FA97B361}"/>
              </a:ext>
            </a:extLst>
          </p:cNvPr>
          <p:cNvSpPr txBox="1"/>
          <p:nvPr userDrawn="1"/>
        </p:nvSpPr>
        <p:spPr>
          <a:xfrm>
            <a:off x="1756132" y="6226806"/>
            <a:ext cx="3403764" cy="161583"/>
          </a:xfrm>
          <a:prstGeom prst="rect">
            <a:avLst/>
          </a:prstGeom>
          <a:noFill/>
        </p:spPr>
        <p:txBody>
          <a:bodyPr wrap="square" lIns="0" tIns="0" rIns="0" bIns="0" rtlCol="0">
            <a:spAutoFit/>
          </a:bodyPr>
          <a:lstStyle/>
          <a:p>
            <a:pPr defTabSz="0"/>
            <a:r>
              <a:rPr lang="ru-RU" sz="1050" dirty="0">
                <a:solidFill>
                  <a:srgbClr val="283A51"/>
                </a:solidFill>
                <a:latin typeface="Circe Light" panose="020B0402020203020203" pitchFamily="34" charset="-52"/>
              </a:rPr>
              <a:t>Итоги Группы по МСФО</a:t>
            </a:r>
          </a:p>
        </p:txBody>
      </p:sp>
      <p:sp>
        <p:nvSpPr>
          <p:cNvPr id="8" name="Номер слайда 29">
            <a:extLst>
              <a:ext uri="{FF2B5EF4-FFF2-40B4-BE49-F238E27FC236}">
                <a16:creationId xmlns:a16="http://schemas.microsoft.com/office/drawing/2014/main" id="{9E42A083-A0D0-7940-8508-DE315CE42248}"/>
              </a:ext>
            </a:extLst>
          </p:cNvPr>
          <p:cNvSpPr txBox="1">
            <a:spLocks/>
          </p:cNvSpPr>
          <p:nvPr userDrawn="1"/>
        </p:nvSpPr>
        <p:spPr>
          <a:xfrm>
            <a:off x="3791744" y="6131396"/>
            <a:ext cx="521496" cy="365125"/>
          </a:xfrm>
          <a:prstGeom prst="rect">
            <a:avLst/>
          </a:prstGeom>
        </p:spPr>
        <p:txBody>
          <a:bodyPr vert="horz" lIns="91440" tIns="45720" rIns="91440" bIns="45720" rtlCol="0" anchor="ctr"/>
          <a:lstStyle>
            <a:defPPr>
              <a:defRPr lang="ru-RU"/>
            </a:defPPr>
            <a:lvl1pPr marL="0" algn="l" defTabSz="914400" rtl="0" eaLnBrk="1" latinLnBrk="0" hangingPunct="1">
              <a:defRPr sz="1150" kern="1200">
                <a:solidFill>
                  <a:srgbClr val="283A51"/>
                </a:solidFill>
                <a:latin typeface="Circe Light" panose="020B0402020203020203" pitchFamily="34" charset="-52"/>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54C8753-49EE-4AA4-B7F7-004F2534EA1E}" type="slidenum">
              <a:rPr lang="ru-RU" sz="2000" smtClean="0"/>
              <a:pPr>
                <a:defRPr/>
              </a:pPr>
              <a:t>‹#›</a:t>
            </a:fld>
            <a:endParaRPr lang="ru-RU" sz="2000" dirty="0"/>
          </a:p>
        </p:txBody>
      </p:sp>
      <p:pic>
        <p:nvPicPr>
          <p:cNvPr id="10" name="Picture 4" descr="ÐÐ°ÑÑÐ¸Ð½ÐºÐ¸ Ð¿Ð¾ Ð·Ð°Ð¿ÑÐ¾ÑÑ sberbank logo">
            <a:extLst>
              <a:ext uri="{FF2B5EF4-FFF2-40B4-BE49-F238E27FC236}">
                <a16:creationId xmlns:a16="http://schemas.microsoft.com/office/drawing/2014/main" id="{8D39EAB9-1777-C341-83D4-69A63E531058}"/>
              </a:ext>
            </a:extLst>
          </p:cNvPr>
          <p:cNvPicPr>
            <a:picLocks noChangeAspect="1" noChangeArrowheads="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872" t="28488" r="7756" b="28536"/>
          <a:stretch/>
        </p:blipFill>
        <p:spPr bwMode="auto">
          <a:xfrm>
            <a:off x="317934" y="6118220"/>
            <a:ext cx="1352206" cy="361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6160759"/>
      </p:ext>
    </p:extLst>
  </p:cSld>
  <p:clrMap bg1="lt1" tx1="dk1" bg2="lt2" tx2="dk2" accent1="accent1" accent2="accent2" accent3="accent3" accent4="accent4" accent5="accent5" accent6="accent6" hlink="hlink" folHlink="folHlink"/>
  <p:sldLayoutIdLst>
    <p:sldLayoutId id="2147483698" r:id="rId1"/>
    <p:sldLayoutId id="2147483699"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5" imgW="359" imgH="360" progId="TCLayout.ActiveDocument.1">
                  <p:embed/>
                </p:oleObj>
              </mc:Choice>
              <mc:Fallback>
                <p:oleObj name="Слайд think-cell" r:id="rId5" imgW="359" imgH="360" progId="TCLayout.ActiveDocument.1">
                  <p:embed/>
                  <p:pic>
                    <p:nvPicPr>
                      <p:cNvPr id="2" name="Объект 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Рисунок 6">
            <a:extLst>
              <a:ext uri="{FF2B5EF4-FFF2-40B4-BE49-F238E27FC236}">
                <a16:creationId xmlns:a16="http://schemas.microsoft.com/office/drawing/2014/main" id="{CF6EDF09-AA0D-4E85-B458-BF9CBED1E702}"/>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488312" y="6305821"/>
            <a:ext cx="1431224" cy="268739"/>
          </a:xfrm>
          <a:prstGeom prst="rect">
            <a:avLst/>
          </a:prstGeom>
        </p:spPr>
      </p:pic>
      <p:cxnSp>
        <p:nvCxnSpPr>
          <p:cNvPr id="8" name="Прямая соединительная линия 7">
            <a:extLst>
              <a:ext uri="{FF2B5EF4-FFF2-40B4-BE49-F238E27FC236}">
                <a16:creationId xmlns:a16="http://schemas.microsoft.com/office/drawing/2014/main" id="{C8B732FB-8A0E-4B58-9646-39B75236A086}"/>
              </a:ext>
            </a:extLst>
          </p:cNvPr>
          <p:cNvCxnSpPr>
            <a:cxnSpLocks/>
          </p:cNvCxnSpPr>
          <p:nvPr userDrawn="1"/>
        </p:nvCxnSpPr>
        <p:spPr>
          <a:xfrm>
            <a:off x="3503712" y="6440190"/>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A7E2D57-E406-4966-9E02-D34E6ED52C86}"/>
              </a:ext>
            </a:extLst>
          </p:cNvPr>
          <p:cNvSpPr txBox="1"/>
          <p:nvPr userDrawn="1"/>
        </p:nvSpPr>
        <p:spPr>
          <a:xfrm>
            <a:off x="2033412" y="6365262"/>
            <a:ext cx="2730130" cy="161583"/>
          </a:xfrm>
          <a:prstGeom prst="rect">
            <a:avLst/>
          </a:prstGeom>
          <a:noFill/>
        </p:spPr>
        <p:txBody>
          <a:bodyPr wrap="square" lIns="0" tIns="0" rIns="0" bIns="0" rtlCol="0">
            <a:spAutoFit/>
          </a:bodyPr>
          <a:lstStyle/>
          <a:p>
            <a:pPr defTabSz="0"/>
            <a:r>
              <a:rPr lang="en-US" sz="1050" dirty="0">
                <a:solidFill>
                  <a:srgbClr val="283A51"/>
                </a:solidFill>
                <a:latin typeface="Circe Light" panose="020B0402020203020203" pitchFamily="34" charset="-52"/>
              </a:rPr>
              <a:t>Earnings presentation</a:t>
            </a:r>
            <a:endParaRPr lang="ru-RU" sz="1050" dirty="0">
              <a:solidFill>
                <a:srgbClr val="283A51"/>
              </a:solidFill>
              <a:latin typeface="Circe Light" panose="020B0402020203020203" pitchFamily="34" charset="-52"/>
            </a:endParaRPr>
          </a:p>
        </p:txBody>
      </p:sp>
      <p:sp>
        <p:nvSpPr>
          <p:cNvPr id="10" name="Номер слайда 5">
            <a:extLst>
              <a:ext uri="{FF2B5EF4-FFF2-40B4-BE49-F238E27FC236}">
                <a16:creationId xmlns:a16="http://schemas.microsoft.com/office/drawing/2014/main" id="{60315CCD-8C7F-4E6F-9DE8-33C698769B17}"/>
              </a:ext>
            </a:extLst>
          </p:cNvPr>
          <p:cNvSpPr txBox="1">
            <a:spLocks/>
          </p:cNvSpPr>
          <p:nvPr userDrawn="1"/>
        </p:nvSpPr>
        <p:spPr>
          <a:xfrm>
            <a:off x="4151784" y="6263490"/>
            <a:ext cx="611758" cy="365125"/>
          </a:xfrm>
          <a:prstGeom prst="rect">
            <a:avLst/>
          </a:prstGeom>
        </p:spPr>
        <p:txBody>
          <a:bodyPr/>
          <a:lstStyle>
            <a:defPPr>
              <a:defRPr lang="ru-RU"/>
            </a:defPPr>
            <a:lvl1pPr>
              <a:defRPr sz="2000"/>
            </a:lvl1pPr>
          </a:lstStyle>
          <a:p>
            <a:pPr lvl="0"/>
            <a:fld id="{054C8753-49EE-4AA4-B7F7-004F2534EA1E}" type="slidenum">
              <a:rPr lang="ru-RU" smtClean="0"/>
              <a:pPr lvl="0"/>
              <a:t>‹#›</a:t>
            </a:fld>
            <a:endParaRPr lang="ru-RU" dirty="0"/>
          </a:p>
        </p:txBody>
      </p:sp>
    </p:spTree>
    <p:extLst>
      <p:ext uri="{BB962C8B-B14F-4D97-AF65-F5344CB8AC3E}">
        <p14:creationId xmlns:p14="http://schemas.microsoft.com/office/powerpoint/2010/main" val="3690685435"/>
      </p:ext>
    </p:extLst>
  </p:cSld>
  <p:clrMap bg1="lt1" tx1="dk1" bg2="lt2" tx2="dk2" accent1="accent1" accent2="accent2" accent3="accent3" accent4="accent4" accent5="accent5" accent6="accent6" hlink="hlink" folHlink="folHlink"/>
  <p:sldLayoutIdLst>
    <p:sldLayoutId id="2147483731" r:id="rId1"/>
    <p:sldLayoutId id="2147483732"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7"/>
            </p:custDataLst>
            <p:extLst>
              <p:ext uri="{D42A27DB-BD31-4B8C-83A1-F6EECF244321}">
                <p14:modId xmlns:p14="http://schemas.microsoft.com/office/powerpoint/2010/main" val="306810650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Слайд think-cell" r:id="rId8" imgW="359" imgH="360" progId="TCLayout.ActiveDocument.1">
                  <p:embed/>
                </p:oleObj>
              </mc:Choice>
              <mc:Fallback>
                <p:oleObj name="Слайд think-cell" r:id="rId8" imgW="359" imgH="360" progId="TCLayout.ActiveDocument.1">
                  <p:embed/>
                  <p:pic>
                    <p:nvPicPr>
                      <p:cNvPr id="3" name="Объект 2" hidden="1"/>
                      <p:cNvPicPr/>
                      <p:nvPr/>
                    </p:nvPicPr>
                    <p:blipFill>
                      <a:blip r:embed="rId9"/>
                      <a:stretch>
                        <a:fillRect/>
                      </a:stretch>
                    </p:blipFill>
                    <p:spPr>
                      <a:xfrm>
                        <a:off x="2118" y="2118"/>
                        <a:ext cx="2117" cy="2117"/>
                      </a:xfrm>
                      <a:prstGeom prst="rect">
                        <a:avLst/>
                      </a:prstGeom>
                    </p:spPr>
                  </p:pic>
                </p:oleObj>
              </mc:Fallback>
            </mc:AlternateContent>
          </a:graphicData>
        </a:graphic>
      </p:graphicFrame>
    </p:spTree>
    <p:extLst>
      <p:ext uri="{BB962C8B-B14F-4D97-AF65-F5344CB8AC3E}">
        <p14:creationId xmlns:p14="http://schemas.microsoft.com/office/powerpoint/2010/main" val="2426487637"/>
      </p:ext>
    </p:extLst>
  </p:cSld>
  <p:clrMap bg1="lt1" tx1="dk1" bg2="lt2" tx2="dk2" accent1="accent1" accent2="accent2" accent3="accent3" accent4="accent4" accent5="accent5" accent6="accent6" hlink="hlink" folHlink="folHlink"/>
  <p:sldLayoutIdLst>
    <p:sldLayoutId id="2147484900" r:id="rId1"/>
    <p:sldLayoutId id="2147484901" r:id="rId2"/>
    <p:sldLayoutId id="2147484902" r:id="rId3"/>
    <p:sldLayoutId id="2147484903" r:id="rId4"/>
    <p:sldLayoutId id="2147484904" r:id="rId5"/>
  </p:sldLayoutIdLst>
  <p:hf hdr="0" ftr="0" dt="0"/>
  <p:txStyles>
    <p:titleStyle>
      <a:lvl1pPr algn="l" defTabSz="914377" rtl="0" eaLnBrk="1" latinLnBrk="0" hangingPunct="1">
        <a:lnSpc>
          <a:spcPct val="90000"/>
        </a:lnSpc>
        <a:spcBef>
          <a:spcPct val="0"/>
        </a:spcBef>
        <a:buNone/>
        <a:defRPr lang="en-US" sz="2267" b="0" i="0" kern="1200" cap="none" baseline="0" dirty="0" smtClean="0">
          <a:solidFill>
            <a:schemeClr val="tx1"/>
          </a:solidFill>
          <a:latin typeface="Calibri Light" charset="0"/>
          <a:ea typeface="Calibri Light" charset="0"/>
          <a:cs typeface="Calibri Light" charset="0"/>
        </a:defRPr>
      </a:lvl1pPr>
    </p:titleStyle>
    <p:bodyStyle>
      <a:lvl1pPr marL="0" indent="0" algn="l" defTabSz="914377" rtl="0" eaLnBrk="1" latinLnBrk="0" hangingPunct="1">
        <a:lnSpc>
          <a:spcPct val="90000"/>
        </a:lnSpc>
        <a:spcBef>
          <a:spcPts val="1000"/>
        </a:spcBef>
        <a:buFont typeface="Arial"/>
        <a:buNone/>
        <a:defRPr sz="2800" b="0" i="0" kern="1200">
          <a:solidFill>
            <a:schemeClr val="tx1"/>
          </a:solidFill>
          <a:latin typeface="+mn-lt"/>
          <a:ea typeface="Calibri Light" charset="0"/>
          <a:cs typeface="Calibri Light" charset="0"/>
        </a:defRPr>
      </a:lvl1pPr>
      <a:lvl2pPr marL="457189" indent="0" algn="l" defTabSz="914377"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377" indent="0" algn="l" defTabSz="914377"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566" indent="0" algn="l" defTabSz="914377" rtl="0" eaLnBrk="1" latinLnBrk="0" hangingPunct="1">
        <a:lnSpc>
          <a:spcPct val="90000"/>
        </a:lnSpc>
        <a:spcBef>
          <a:spcPts val="500"/>
        </a:spcBef>
        <a:buFont typeface="Arial"/>
        <a:buNone/>
        <a:defRPr sz="1867" b="0" i="0" kern="1200">
          <a:solidFill>
            <a:schemeClr val="tx1"/>
          </a:solidFill>
          <a:latin typeface="+mn-lt"/>
          <a:ea typeface="Calibri Light" charset="0"/>
          <a:cs typeface="Calibri Light" charset="0"/>
        </a:defRPr>
      </a:lvl4pPr>
      <a:lvl5pPr marL="1828754" indent="0" algn="l" defTabSz="914377" rtl="0" eaLnBrk="1" latinLnBrk="0" hangingPunct="1">
        <a:lnSpc>
          <a:spcPct val="90000"/>
        </a:lnSpc>
        <a:spcBef>
          <a:spcPts val="500"/>
        </a:spcBef>
        <a:buFont typeface="Arial"/>
        <a:buNone/>
        <a:defRPr sz="1867"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p15:clr>
            <a:srgbClr val="F26B43"/>
          </p15:clr>
        </p15:guide>
        <p15:guide id="2" pos="7242">
          <p15:clr>
            <a:srgbClr val="F26B43"/>
          </p15:clr>
        </p15:guide>
        <p15:guide id="3" orient="horz" pos="436">
          <p15:clr>
            <a:srgbClr val="F26B43"/>
          </p15:clr>
        </p15:guide>
        <p15:guide id="4" orient="horz" pos="3884">
          <p15:clr>
            <a:srgbClr val="F26B43"/>
          </p15:clr>
        </p15:guide>
        <p15:guide id="17" orient="horz" pos="799">
          <p15:clr>
            <a:srgbClr val="F26B43"/>
          </p15:clr>
        </p15:guide>
        <p15:guide id="18" pos="37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smtClean="0"/>
              <a:t>2/20/2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graphicFrame>
        <p:nvGraphicFramePr>
          <p:cNvPr id="7" name="Объект 6" hidden="1"/>
          <p:cNvGraphicFramePr>
            <a:graphicFrameLocks noChangeAspect="1"/>
          </p:cNvGraphicFramePr>
          <p:nvPr userDrawn="1">
            <p:custDataLst>
              <p:tags r:id="rId4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1" imgW="395" imgH="396" progId="TCLayout.ActiveDocument.1">
                  <p:embed/>
                </p:oleObj>
              </mc:Choice>
              <mc:Fallback>
                <p:oleObj name="Слайд think-cell" r:id="rId41" imgW="395" imgH="396" progId="TCLayout.ActiveDocument.1">
                  <p:embed/>
                  <p:pic>
                    <p:nvPicPr>
                      <p:cNvPr id="7" name="Объект 6" hidden="1"/>
                      <p:cNvPicPr/>
                      <p:nvPr/>
                    </p:nvPicPr>
                    <p:blipFill>
                      <a:blip r:embed="rId42"/>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649149998"/>
      </p:ext>
    </p:extLst>
  </p:cSld>
  <p:clrMap bg1="lt1" tx1="dk1" bg2="lt2" tx2="dk2" accent1="accent1" accent2="accent2" accent3="accent3" accent4="accent4" accent5="accent5" accent6="accent6" hlink="hlink" folHlink="folHlink"/>
  <p:sldLayoutIdLst>
    <p:sldLayoutId id="2147485411" r:id="rId1"/>
    <p:sldLayoutId id="2147485412" r:id="rId2"/>
    <p:sldLayoutId id="2147485413" r:id="rId3"/>
    <p:sldLayoutId id="2147485414" r:id="rId4"/>
    <p:sldLayoutId id="2147485415" r:id="rId5"/>
    <p:sldLayoutId id="2147485416" r:id="rId6"/>
    <p:sldLayoutId id="2147485417" r:id="rId7"/>
    <p:sldLayoutId id="2147485418" r:id="rId8"/>
    <p:sldLayoutId id="2147485419" r:id="rId9"/>
    <p:sldLayoutId id="2147485420" r:id="rId10"/>
    <p:sldLayoutId id="2147485421" r:id="rId11"/>
    <p:sldLayoutId id="2147485422" r:id="rId12"/>
    <p:sldLayoutId id="2147485425" r:id="rId13"/>
    <p:sldLayoutId id="2147485426" r:id="rId14"/>
    <p:sldLayoutId id="2147485427" r:id="rId15"/>
    <p:sldLayoutId id="2147485428" r:id="rId16"/>
    <p:sldLayoutId id="2147485429" r:id="rId17"/>
    <p:sldLayoutId id="2147485430" r:id="rId18"/>
    <p:sldLayoutId id="2147485431" r:id="rId19"/>
    <p:sldLayoutId id="2147485432" r:id="rId20"/>
    <p:sldLayoutId id="2147485433" r:id="rId21"/>
    <p:sldLayoutId id="2147485434" r:id="rId22"/>
    <p:sldLayoutId id="2147485435" r:id="rId23"/>
    <p:sldLayoutId id="2147485436" r:id="rId24"/>
    <p:sldLayoutId id="2147485437" r:id="rId25"/>
    <p:sldLayoutId id="2147485438" r:id="rId26"/>
    <p:sldLayoutId id="2147485439" r:id="rId27"/>
    <p:sldLayoutId id="2147485440" r:id="rId28"/>
    <p:sldLayoutId id="2147485441" r:id="rId29"/>
    <p:sldLayoutId id="2147485442" r:id="rId30"/>
    <p:sldLayoutId id="2147485443" r:id="rId31"/>
    <p:sldLayoutId id="2147485444" r:id="rId32"/>
    <p:sldLayoutId id="2147485445" r:id="rId33"/>
    <p:sldLayoutId id="2147485446" r:id="rId34"/>
    <p:sldLayoutId id="2147485447" r:id="rId35"/>
    <p:sldLayoutId id="2147485448" r:id="rId36"/>
    <p:sldLayoutId id="2147485449" r:id="rId37"/>
    <p:sldLayoutId id="2147485450" r:id="rId3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3" Type="http://schemas.openxmlformats.org/officeDocument/2006/relationships/hyperlink" Target="https://www.nytimes.com/2016/09/09/business/dealbook/wells-fargo-fined-for-years-of-harm-to-customers.html" TargetMode="External"/><Relationship Id="rId2" Type="http://schemas.openxmlformats.org/officeDocument/2006/relationships/hyperlink" Target="https://en.wikipedia.org/wiki/2012_JPMorgan_Chase_trading_loss" TargetMode="External"/><Relationship Id="rId1" Type="http://schemas.openxmlformats.org/officeDocument/2006/relationships/slideLayout" Target="../slideLayouts/slideLayout22.xml"/><Relationship Id="rId5" Type="http://schemas.openxmlformats.org/officeDocument/2006/relationships/hyperlink" Target="https://en.wikipedia.org/wiki/2008_Soci%C3%A9t%C3%A9_G%C3%A9n%C3%A9rale_trading_loss" TargetMode="External"/><Relationship Id="rId4" Type="http://schemas.openxmlformats.org/officeDocument/2006/relationships/hyperlink" Target="https://www.csoonline.com/article/3444488/equifax-data-breach-faq-what-happened-who-was-affected-what-was-the-impact.html" TargetMode="External"/></Relationships>
</file>

<file path=ppt/slides/_rels/slide1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hyperlink" Target="file:///C:\Users\GG71CD\Downloads\OPE25.pdf" TargetMode="Externa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1.png"/><Relationship Id="rId1" Type="http://schemas.openxmlformats.org/officeDocument/2006/relationships/slideLayout" Target="../slideLayouts/slideLayout22.xml"/><Relationship Id="rId4" Type="http://schemas.openxmlformats.org/officeDocument/2006/relationships/image" Target="../media/image4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3" Type="http://schemas.openxmlformats.org/officeDocument/2006/relationships/hyperlink" Target="https://www.bis.org/basel_framework/chapter/OPE/10.htm?inforce=20230101&amp;published=20200327" TargetMode="External"/><Relationship Id="rId2" Type="http://schemas.openxmlformats.org/officeDocument/2006/relationships/image" Target="../media/image46.png"/><Relationship Id="rId1" Type="http://schemas.openxmlformats.org/officeDocument/2006/relationships/slideLayout" Target="../slideLayouts/slideLayout22.xml"/><Relationship Id="rId4" Type="http://schemas.openxmlformats.org/officeDocument/2006/relationships/image" Target="../media/image47.png"/></Relationships>
</file>

<file path=ppt/slides/_rels/slide8.xml.rels><?xml version="1.0" encoding="UTF-8" standalone="yes"?>
<Relationships xmlns="http://schemas.openxmlformats.org/package/2006/relationships"><Relationship Id="rId3" Type="http://schemas.openxmlformats.org/officeDocument/2006/relationships/hyperlink" Target="https://www.bis.org/publ/bcbs189.pdf" TargetMode="External"/><Relationship Id="rId2" Type="http://schemas.openxmlformats.org/officeDocument/2006/relationships/image" Target="../media/image48.png"/><Relationship Id="rId1" Type="http://schemas.openxmlformats.org/officeDocument/2006/relationships/slideLayout" Target="../slideLayouts/slideLayout22.xml"/><Relationship Id="rId4" Type="http://schemas.openxmlformats.org/officeDocument/2006/relationships/image" Target="../media/image54.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Taxonomy of operational risk</a:t>
            </a:r>
            <a:endPar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pic>
        <p:nvPicPr>
          <p:cNvPr id="6" name="Picture 5">
            <a:extLst>
              <a:ext uri="{FF2B5EF4-FFF2-40B4-BE49-F238E27FC236}">
                <a16:creationId xmlns:a16="http://schemas.microsoft.com/office/drawing/2014/main" id="{DF5F0D23-00E6-FF40-BDD5-A23D3F9C9BD6}"/>
              </a:ext>
            </a:extLst>
          </p:cNvPr>
          <p:cNvPicPr>
            <a:picLocks noChangeAspect="1"/>
          </p:cNvPicPr>
          <p:nvPr/>
        </p:nvPicPr>
        <p:blipFill>
          <a:blip r:embed="rId2"/>
          <a:stretch>
            <a:fillRect/>
          </a:stretch>
        </p:blipFill>
        <p:spPr>
          <a:xfrm>
            <a:off x="1956779" y="1607947"/>
            <a:ext cx="7639981" cy="5030385"/>
          </a:xfrm>
          <a:prstGeom prst="rect">
            <a:avLst/>
          </a:prstGeom>
        </p:spPr>
      </p:pic>
      <p:sp>
        <p:nvSpPr>
          <p:cNvPr id="4" name="TextBox 3">
            <a:extLst>
              <a:ext uri="{FF2B5EF4-FFF2-40B4-BE49-F238E27FC236}">
                <a16:creationId xmlns:a16="http://schemas.microsoft.com/office/drawing/2014/main" id="{FDABCC8D-F6B6-D6C1-D5FE-4F0AB0229A8F}"/>
              </a:ext>
            </a:extLst>
          </p:cNvPr>
          <p:cNvSpPr txBox="1"/>
          <p:nvPr/>
        </p:nvSpPr>
        <p:spPr>
          <a:xfrm>
            <a:off x="384400" y="764343"/>
            <a:ext cx="11733619" cy="769441"/>
          </a:xfrm>
          <a:prstGeom prst="rect">
            <a:avLst/>
          </a:prstGeom>
          <a:noFill/>
        </p:spPr>
        <p:txBody>
          <a:bodyPr wrap="square">
            <a:spAutoFit/>
          </a:bodyPr>
          <a:lstStyle/>
          <a:p>
            <a:r>
              <a:rPr lang="en-US" sz="2200" dirty="0"/>
              <a:t>Basel committee definition of operational risk - the risk of </a:t>
            </a:r>
            <a:r>
              <a:rPr lang="en-US" sz="2200" b="1" dirty="0"/>
              <a:t>loss</a:t>
            </a:r>
            <a:r>
              <a:rPr lang="en-US" sz="2200" dirty="0"/>
              <a:t> from failed or inadequate processes, people systems or external events. </a:t>
            </a:r>
          </a:p>
        </p:txBody>
      </p:sp>
    </p:spTree>
    <p:extLst>
      <p:ext uri="{BB962C8B-B14F-4D97-AF65-F5344CB8AC3E}">
        <p14:creationId xmlns:p14="http://schemas.microsoft.com/office/powerpoint/2010/main" val="3608166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346FA2B-EA52-0797-E19F-BDE1D8CC97E0}"/>
              </a:ext>
            </a:extLst>
          </p:cNvPr>
          <p:cNvSpPr>
            <a:spLocks noGrp="1"/>
          </p:cNvSpPr>
          <p:nvPr>
            <p:ph type="sldNum" sz="quarter" idx="12"/>
          </p:nvPr>
        </p:nvSpPr>
        <p:spPr/>
        <p:txBody>
          <a:bodyPr/>
          <a:lstStyle/>
          <a:p>
            <a:fld id="{48F63A3B-78C7-47BE-AE5E-E10140E04643}" type="slidenum">
              <a:rPr lang="en-US" smtClean="0"/>
              <a:t>10</a:t>
            </a:fld>
            <a:endParaRPr lang="en-US" dirty="0"/>
          </a:p>
        </p:txBody>
      </p:sp>
      <p:sp>
        <p:nvSpPr>
          <p:cNvPr id="3" name="TextBox 2">
            <a:extLst>
              <a:ext uri="{FF2B5EF4-FFF2-40B4-BE49-F238E27FC236}">
                <a16:creationId xmlns:a16="http://schemas.microsoft.com/office/drawing/2014/main" id="{B0B1E3C9-3E00-7AF5-9C86-3E21886F5EB9}"/>
              </a:ext>
            </a:extLst>
          </p:cNvPr>
          <p:cNvSpPr txBox="1"/>
          <p:nvPr/>
        </p:nvSpPr>
        <p:spPr>
          <a:xfrm>
            <a:off x="381959" y="213126"/>
            <a:ext cx="9777440"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3. Manage: the </a:t>
            </a: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control environment (1/3)</a:t>
            </a:r>
          </a:p>
        </p:txBody>
      </p:sp>
      <p:sp>
        <p:nvSpPr>
          <p:cNvPr id="4" name="TextBox 3">
            <a:extLst>
              <a:ext uri="{FF2B5EF4-FFF2-40B4-BE49-F238E27FC236}">
                <a16:creationId xmlns:a16="http://schemas.microsoft.com/office/drawing/2014/main" id="{6213A319-E093-B264-93D5-F0E245158526}"/>
              </a:ext>
            </a:extLst>
          </p:cNvPr>
          <p:cNvSpPr txBox="1"/>
          <p:nvPr/>
        </p:nvSpPr>
        <p:spPr>
          <a:xfrm>
            <a:off x="391386" y="680753"/>
            <a:ext cx="11703204" cy="6093976"/>
          </a:xfrm>
          <a:prstGeom prst="rect">
            <a:avLst/>
          </a:prstGeom>
          <a:noFill/>
        </p:spPr>
        <p:txBody>
          <a:bodyPr wrap="square" rtlCol="0">
            <a:spAutoFit/>
          </a:bodyPr>
          <a:lstStyle/>
          <a:p>
            <a:r>
              <a:rPr lang="en-US" sz="1500" b="1" dirty="0">
                <a:latin typeface="Arial" panose="020B0604020202020204" pitchFamily="34" charset="0"/>
                <a:cs typeface="Arial" panose="020B0604020202020204" pitchFamily="34" charset="0"/>
              </a:rPr>
              <a:t>I. What are controls literally?:</a:t>
            </a:r>
          </a:p>
          <a:p>
            <a:pPr marL="285750" indent="-285750" algn="l">
              <a:buFont typeface="Arial" panose="020B0604020202020204" pitchFamily="34" charset="0"/>
              <a:buChar char="•"/>
            </a:pPr>
            <a:endParaRPr lang="en-US" sz="1500" b="1" i="0" dirty="0">
              <a:effectLst/>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sz="1500" b="1" i="0" dirty="0">
                <a:effectLst/>
                <a:latin typeface="Arial" panose="020B0604020202020204" pitchFamily="34" charset="0"/>
                <a:cs typeface="Arial" panose="020B0604020202020204" pitchFamily="34" charset="0"/>
              </a:rPr>
              <a:t>Policies and procedures:</a:t>
            </a:r>
            <a:r>
              <a:rPr lang="en-US" sz="1500" b="0" i="0" dirty="0">
                <a:effectLst/>
                <a:latin typeface="Arial" panose="020B0604020202020204" pitchFamily="34" charset="0"/>
                <a:cs typeface="Arial" panose="020B0604020202020204" pitchFamily="34" charset="0"/>
              </a:rPr>
              <a:t> Establishing policies and procedures that clearly define the desired behavior and expected outcomes can help to ensure that business processes are carried out consistently and effectively. The important part here </a:t>
            </a:r>
            <a:r>
              <a:rPr lang="en-US" sz="1500" dirty="0">
                <a:latin typeface="Arial" panose="020B0604020202020204" pitchFamily="34" charset="0"/>
                <a:cs typeface="Arial" panose="020B0604020202020204" pitchFamily="34" charset="0"/>
              </a:rPr>
              <a:t>are</a:t>
            </a:r>
            <a:r>
              <a:rPr lang="en-US" sz="1500" b="0" i="0" dirty="0">
                <a:effectLst/>
                <a:latin typeface="Arial" panose="020B0604020202020204" pitchFamily="34" charset="0"/>
                <a:cs typeface="Arial" panose="020B0604020202020204" pitchFamily="34" charset="0"/>
              </a:rPr>
              <a:t>:</a:t>
            </a:r>
          </a:p>
          <a:p>
            <a:pPr marL="742950" lvl="1" indent="-285750">
              <a:buFont typeface="Arial" panose="020B0604020202020204" pitchFamily="34" charset="0"/>
              <a:buChar char="•"/>
            </a:pPr>
            <a:r>
              <a:rPr lang="en-US" sz="1500" b="1" i="0" dirty="0">
                <a:effectLst/>
                <a:latin typeface="Arial" panose="020B0604020202020204" pitchFamily="34" charset="0"/>
                <a:cs typeface="Arial" panose="020B0604020202020204" pitchFamily="34" charset="0"/>
              </a:rPr>
              <a:t>Separation of duties:</a:t>
            </a:r>
            <a:r>
              <a:rPr lang="en-US" sz="1500" b="0" i="0" dirty="0">
                <a:effectLst/>
                <a:latin typeface="Arial" panose="020B0604020202020204" pitchFamily="34" charset="0"/>
                <a:cs typeface="Arial" panose="020B0604020202020204" pitchFamily="34" charset="0"/>
              </a:rPr>
              <a:t> Separating duties among different individuals or departments can help to prevent fraud or errors by ensuring that no one person has complete control over a process.</a:t>
            </a:r>
          </a:p>
          <a:p>
            <a:pPr marL="742950" lvl="1" indent="-285750">
              <a:buFont typeface="Arial" panose="020B0604020202020204" pitchFamily="34" charset="0"/>
              <a:buChar char="•"/>
            </a:pPr>
            <a:r>
              <a:rPr lang="en-US" sz="1500" b="1" i="0" dirty="0">
                <a:effectLst/>
                <a:latin typeface="Arial" panose="020B0604020202020204" pitchFamily="34" charset="0"/>
                <a:cs typeface="Arial" panose="020B0604020202020204" pitchFamily="34" charset="0"/>
              </a:rPr>
              <a:t>Authorization and approval:</a:t>
            </a:r>
            <a:r>
              <a:rPr lang="en-US" sz="1500" b="0" i="0" dirty="0">
                <a:effectLst/>
                <a:latin typeface="Arial" panose="020B0604020202020204" pitchFamily="34" charset="0"/>
                <a:cs typeface="Arial" panose="020B0604020202020204" pitchFamily="34" charset="0"/>
              </a:rPr>
              <a:t> Authorization and approval processes can be used to ensure that only authorized individuals or entities are able to initiate or approve certain transactions or activities.</a:t>
            </a:r>
          </a:p>
          <a:p>
            <a:pPr marL="285750" indent="-285750" algn="l">
              <a:buFont typeface="Arial" panose="020B0604020202020204" pitchFamily="34" charset="0"/>
              <a:buChar char="•"/>
            </a:pPr>
            <a:r>
              <a:rPr lang="en-US" sz="1500" b="1" i="0" dirty="0">
                <a:effectLst/>
                <a:latin typeface="Arial" panose="020B0604020202020204" pitchFamily="34" charset="0"/>
                <a:cs typeface="Arial" panose="020B0604020202020204" pitchFamily="34" charset="0"/>
              </a:rPr>
              <a:t>Physical controls:</a:t>
            </a:r>
            <a:r>
              <a:rPr lang="en-US" sz="1500" b="0" i="0" dirty="0">
                <a:effectLst/>
                <a:latin typeface="Arial" panose="020B0604020202020204" pitchFamily="34" charset="0"/>
                <a:cs typeface="Arial" panose="020B0604020202020204" pitchFamily="34" charset="0"/>
              </a:rPr>
              <a:t> Physical controls, such as locks, access controls, and security cameras, can help to prevent unauthorized access to physical assets or sensitive information.</a:t>
            </a:r>
          </a:p>
          <a:p>
            <a:pPr marL="285750" indent="-285750" algn="l">
              <a:buFont typeface="Arial" panose="020B0604020202020204" pitchFamily="34" charset="0"/>
              <a:buChar char="•"/>
            </a:pPr>
            <a:r>
              <a:rPr lang="en-US" sz="1500" b="1" i="0" dirty="0">
                <a:effectLst/>
                <a:latin typeface="Arial" panose="020B0604020202020204" pitchFamily="34" charset="0"/>
                <a:cs typeface="Arial" panose="020B0604020202020204" pitchFamily="34" charset="0"/>
              </a:rPr>
              <a:t>Automated controls:</a:t>
            </a:r>
            <a:r>
              <a:rPr lang="en-US" sz="1500" b="0" i="0" dirty="0">
                <a:effectLst/>
                <a:latin typeface="Arial" panose="020B0604020202020204" pitchFamily="34" charset="0"/>
                <a:cs typeface="Arial" panose="020B0604020202020204" pitchFamily="34" charset="0"/>
              </a:rPr>
              <a:t> Automated controls, such as software programs or electronic checks, can help to ensure that processes are carried out consistently and accurately. For example, validate data entry or flag exceptions for further review.</a:t>
            </a:r>
          </a:p>
          <a:p>
            <a:pPr marL="285750" indent="-285750" algn="l">
              <a:buFont typeface="Arial" panose="020B0604020202020204" pitchFamily="34" charset="0"/>
              <a:buChar char="•"/>
            </a:pPr>
            <a:r>
              <a:rPr lang="en-US" sz="1500" b="1" i="0" dirty="0">
                <a:effectLst/>
                <a:latin typeface="Arial" panose="020B0604020202020204" pitchFamily="34" charset="0"/>
                <a:cs typeface="Arial" panose="020B0604020202020204" pitchFamily="34" charset="0"/>
              </a:rPr>
              <a:t>Monitoring and reporting:</a:t>
            </a:r>
            <a:r>
              <a:rPr lang="en-US" sz="1500" b="0" i="0" dirty="0">
                <a:effectLst/>
                <a:latin typeface="Arial" panose="020B0604020202020204" pitchFamily="34" charset="0"/>
                <a:cs typeface="Arial" panose="020B0604020202020204" pitchFamily="34" charset="0"/>
              </a:rPr>
              <a:t> Monitoring and reporting can help to identify problems or errors in a timely manner, allowing for corrective action to be taken before they become more serious. </a:t>
            </a:r>
          </a:p>
          <a:p>
            <a:endParaRPr lang="en-US" sz="1500" dirty="0">
              <a:latin typeface="Arial" panose="020B0604020202020204" pitchFamily="34" charset="0"/>
              <a:cs typeface="Arial" panose="020B0604020202020204" pitchFamily="34" charset="0"/>
            </a:endParaRPr>
          </a:p>
          <a:p>
            <a:r>
              <a:rPr lang="en-US" sz="1500" b="1" dirty="0">
                <a:latin typeface="Arial" panose="020B0604020202020204" pitchFamily="34" charset="0"/>
                <a:cs typeface="Arial" panose="020B0604020202020204" pitchFamily="34" charset="0"/>
              </a:rPr>
              <a:t>II. Implementation of controls costs money</a:t>
            </a:r>
            <a:r>
              <a:rPr lang="en-US" sz="1500" dirty="0">
                <a:latin typeface="Arial" panose="020B0604020202020204" pitchFamily="34" charset="0"/>
                <a:cs typeface="Arial" panose="020B0604020202020204" pitchFamily="34" charset="0"/>
              </a:rPr>
              <a:t>. Bank need to find the trade-off between quality and the cost. For this purpose the following matrix based on operational risk probability and severity can be used:</a:t>
            </a:r>
          </a:p>
          <a:p>
            <a:endParaRPr lang="en-US" sz="1500" dirty="0">
              <a:latin typeface="Arial" panose="020B0604020202020204" pitchFamily="34" charset="0"/>
              <a:cs typeface="Arial" panose="020B0604020202020204" pitchFamily="34" charset="0"/>
            </a:endParaRPr>
          </a:p>
          <a:p>
            <a:endParaRPr lang="en-US" sz="1500" dirty="0">
              <a:latin typeface="Arial" panose="020B0604020202020204" pitchFamily="34" charset="0"/>
              <a:cs typeface="Arial" panose="020B0604020202020204" pitchFamily="34" charset="0"/>
            </a:endParaRPr>
          </a:p>
          <a:p>
            <a:endParaRPr lang="en-US" sz="1500" dirty="0">
              <a:latin typeface="Arial" panose="020B0604020202020204" pitchFamily="34" charset="0"/>
              <a:cs typeface="Arial" panose="020B0604020202020204" pitchFamily="34" charset="0"/>
            </a:endParaRPr>
          </a:p>
          <a:p>
            <a:endParaRPr lang="en-US" sz="1500" dirty="0">
              <a:latin typeface="Arial" panose="020B0604020202020204" pitchFamily="34" charset="0"/>
              <a:cs typeface="Arial" panose="020B0604020202020204" pitchFamily="34" charset="0"/>
            </a:endParaRPr>
          </a:p>
          <a:p>
            <a:endParaRPr lang="en-US" sz="1500" dirty="0">
              <a:latin typeface="Arial" panose="020B0604020202020204" pitchFamily="34" charset="0"/>
              <a:cs typeface="Arial" panose="020B0604020202020204" pitchFamily="34" charset="0"/>
            </a:endParaRPr>
          </a:p>
          <a:p>
            <a:endParaRPr lang="en-US" sz="1500" dirty="0">
              <a:latin typeface="Arial" panose="020B0604020202020204" pitchFamily="34" charset="0"/>
              <a:cs typeface="Arial" panose="020B0604020202020204" pitchFamily="34" charset="0"/>
            </a:endParaRPr>
          </a:p>
          <a:p>
            <a:endParaRPr lang="ru-RU" sz="1500" dirty="0">
              <a:latin typeface="Arial" panose="020B0604020202020204" pitchFamily="34" charset="0"/>
              <a:cs typeface="Arial" panose="020B0604020202020204" pitchFamily="34" charset="0"/>
            </a:endParaRPr>
          </a:p>
          <a:p>
            <a:r>
              <a:rPr lang="en-US" sz="1500" dirty="0">
                <a:latin typeface="Arial" panose="020B0604020202020204" pitchFamily="34" charset="0"/>
                <a:cs typeface="Arial" panose="020B0604020202020204" pitchFamily="34" charset="0"/>
              </a:rPr>
              <a:t>The exception from this matrix - regulatory obliged controls. For instance </a:t>
            </a:r>
            <a:r>
              <a:rPr lang="en-US" sz="1500" b="0" i="0" dirty="0">
                <a:solidFill>
                  <a:srgbClr val="333333"/>
                </a:solidFill>
                <a:effectLst/>
                <a:latin typeface="Arial" panose="020B0604020202020204" pitchFamily="34" charset="0"/>
              </a:rPr>
              <a:t>AML/CFT – Anti-money laundering and combating the financing of terrorism. </a:t>
            </a:r>
            <a:r>
              <a:rPr lang="en-US" sz="1500" dirty="0">
                <a:latin typeface="Arial" panose="020B0604020202020204" pitchFamily="34" charset="0"/>
                <a:cs typeface="Arial" panose="020B0604020202020204" pitchFamily="34" charset="0"/>
              </a:rPr>
              <a:t>Bank obliged to have decent controls in place even if it brings ~0 added value for the business.</a:t>
            </a:r>
            <a:endParaRPr lang="ru-RU" sz="1500" dirty="0">
              <a:latin typeface="Arial" panose="020B0604020202020204" pitchFamily="34" charset="0"/>
              <a:cs typeface="Arial" panose="020B0604020202020204" pitchFamily="34" charset="0"/>
            </a:endParaRPr>
          </a:p>
        </p:txBody>
      </p:sp>
      <p:graphicFrame>
        <p:nvGraphicFramePr>
          <p:cNvPr id="5" name="Table 5">
            <a:extLst>
              <a:ext uri="{FF2B5EF4-FFF2-40B4-BE49-F238E27FC236}">
                <a16:creationId xmlns:a16="http://schemas.microsoft.com/office/drawing/2014/main" id="{35159511-BB5E-02FD-24F1-3EB217E99BE3}"/>
              </a:ext>
            </a:extLst>
          </p:cNvPr>
          <p:cNvGraphicFramePr>
            <a:graphicFrameLocks noGrp="1"/>
          </p:cNvGraphicFramePr>
          <p:nvPr>
            <p:extLst>
              <p:ext uri="{D42A27DB-BD31-4B8C-83A1-F6EECF244321}">
                <p14:modId xmlns:p14="http://schemas.microsoft.com/office/powerpoint/2010/main" val="4130517741"/>
              </p:ext>
            </p:extLst>
          </p:nvPr>
        </p:nvGraphicFramePr>
        <p:xfrm>
          <a:off x="471341" y="4701287"/>
          <a:ext cx="9539140" cy="1341120"/>
        </p:xfrm>
        <a:graphic>
          <a:graphicData uri="http://schemas.openxmlformats.org/drawingml/2006/table">
            <a:tbl>
              <a:tblPr firstRow="1" bandRow="1">
                <a:tableStyleId>{2D5ABB26-0587-4C30-8999-92F81FD0307C}</a:tableStyleId>
              </a:tblPr>
              <a:tblGrid>
                <a:gridCol w="2384785">
                  <a:extLst>
                    <a:ext uri="{9D8B030D-6E8A-4147-A177-3AD203B41FA5}">
                      <a16:colId xmlns:a16="http://schemas.microsoft.com/office/drawing/2014/main" val="3015080437"/>
                    </a:ext>
                  </a:extLst>
                </a:gridCol>
                <a:gridCol w="2384785">
                  <a:extLst>
                    <a:ext uri="{9D8B030D-6E8A-4147-A177-3AD203B41FA5}">
                      <a16:colId xmlns:a16="http://schemas.microsoft.com/office/drawing/2014/main" val="2032493390"/>
                    </a:ext>
                  </a:extLst>
                </a:gridCol>
                <a:gridCol w="2384785">
                  <a:extLst>
                    <a:ext uri="{9D8B030D-6E8A-4147-A177-3AD203B41FA5}">
                      <a16:colId xmlns:a16="http://schemas.microsoft.com/office/drawing/2014/main" val="1241934289"/>
                    </a:ext>
                  </a:extLst>
                </a:gridCol>
                <a:gridCol w="2384785">
                  <a:extLst>
                    <a:ext uri="{9D8B030D-6E8A-4147-A177-3AD203B41FA5}">
                      <a16:colId xmlns:a16="http://schemas.microsoft.com/office/drawing/2014/main" val="2242347787"/>
                    </a:ext>
                  </a:extLst>
                </a:gridCol>
              </a:tblGrid>
              <a:tr h="229078">
                <a:tc>
                  <a:txBody>
                    <a:bodyPr/>
                    <a:lstStyle/>
                    <a:p>
                      <a:endParaRPr lang="en-NL" sz="1600" dirty="0">
                        <a:solidFill>
                          <a:schemeClr val="bg1"/>
                        </a:solidFill>
                      </a:endParaRPr>
                    </a:p>
                  </a:txBody>
                  <a:tcPr>
                    <a:solidFill>
                      <a:schemeClr val="tx1">
                        <a:lumMod val="75000"/>
                        <a:lumOff val="25000"/>
                      </a:schemeClr>
                    </a:solidFill>
                  </a:tcPr>
                </a:tc>
                <a:tc>
                  <a:txBody>
                    <a:bodyPr/>
                    <a:lstStyle/>
                    <a:p>
                      <a:r>
                        <a:rPr lang="en-US" sz="1600" dirty="0">
                          <a:solidFill>
                            <a:schemeClr val="bg1"/>
                          </a:solidFill>
                        </a:rPr>
                        <a:t>Low severity</a:t>
                      </a:r>
                      <a:endParaRPr lang="en-NL" sz="1600" dirty="0">
                        <a:solidFill>
                          <a:schemeClr val="bg1"/>
                        </a:solidFill>
                      </a:endParaRPr>
                    </a:p>
                  </a:txBody>
                  <a:tcPr>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r>
                        <a:rPr lang="en-US" sz="1600" dirty="0">
                          <a:solidFill>
                            <a:schemeClr val="bg1"/>
                          </a:solidFill>
                        </a:rPr>
                        <a:t>Medium severity</a:t>
                      </a:r>
                      <a:endParaRPr lang="en-NL" sz="1600" dirty="0">
                        <a:solidFill>
                          <a:schemeClr val="bg1"/>
                        </a:solidFill>
                      </a:endParaRPr>
                    </a:p>
                  </a:txBody>
                  <a:tcPr>
                    <a:lnB w="12700" cap="flat" cmpd="sng" algn="ctr">
                      <a:solidFill>
                        <a:schemeClr val="tx1"/>
                      </a:solidFill>
                      <a:prstDash val="solid"/>
                      <a:round/>
                      <a:headEnd type="none" w="med" len="med"/>
                      <a:tailEnd type="none" w="med" len="med"/>
                    </a:lnB>
                    <a:solidFill>
                      <a:schemeClr val="tx1">
                        <a:lumMod val="75000"/>
                        <a:lumOff val="25000"/>
                      </a:schemeClr>
                    </a:solidFill>
                  </a:tcPr>
                </a:tc>
                <a:tc>
                  <a:txBody>
                    <a:bodyPr/>
                    <a:lstStyle/>
                    <a:p>
                      <a:r>
                        <a:rPr lang="en-US" sz="1600" dirty="0">
                          <a:solidFill>
                            <a:schemeClr val="bg1"/>
                          </a:solidFill>
                        </a:rPr>
                        <a:t>High severity</a:t>
                      </a:r>
                      <a:endParaRPr lang="en-NL" sz="1600" dirty="0">
                        <a:solidFill>
                          <a:schemeClr val="bg1"/>
                        </a:solidFill>
                      </a:endParaRPr>
                    </a:p>
                  </a:txBody>
                  <a:tcPr>
                    <a:lnB w="12700" cap="flat" cmpd="sng" algn="ctr">
                      <a:solidFill>
                        <a:schemeClr val="tx1"/>
                      </a:solidFill>
                      <a:prstDash val="solid"/>
                      <a:round/>
                      <a:headEnd type="none" w="med" len="med"/>
                      <a:tailEnd type="none" w="med" len="med"/>
                    </a:lnB>
                    <a:solidFill>
                      <a:schemeClr val="tx1">
                        <a:lumMod val="75000"/>
                        <a:lumOff val="25000"/>
                      </a:schemeClr>
                    </a:solidFill>
                  </a:tcPr>
                </a:tc>
                <a:extLst>
                  <a:ext uri="{0D108BD9-81ED-4DB2-BD59-A6C34878D82A}">
                    <a16:rowId xmlns:a16="http://schemas.microsoft.com/office/drawing/2014/main" val="537199074"/>
                  </a:ext>
                </a:extLst>
              </a:tr>
              <a:tr h="278717">
                <a:tc>
                  <a:txBody>
                    <a:bodyPr/>
                    <a:lstStyle/>
                    <a:p>
                      <a:r>
                        <a:rPr lang="en-US" sz="1600" dirty="0">
                          <a:solidFill>
                            <a:schemeClr val="bg1"/>
                          </a:solidFill>
                        </a:rPr>
                        <a:t>Low probability</a:t>
                      </a:r>
                      <a:endParaRPr lang="en-NL" sz="1600" dirty="0">
                        <a:solidFill>
                          <a:schemeClr val="bg1"/>
                        </a:solidFill>
                      </a:endParaRPr>
                    </a:p>
                  </a:txBody>
                  <a:tcPr>
                    <a:lnR w="12700" cap="flat" cmpd="sng" algn="ctr">
                      <a:solidFill>
                        <a:schemeClr val="tx1"/>
                      </a:solidFill>
                      <a:prstDash val="solid"/>
                      <a:round/>
                      <a:headEnd type="none" w="med" len="med"/>
                      <a:tailEnd type="none" w="med" len="med"/>
                    </a:lnR>
                    <a:solidFill>
                      <a:schemeClr val="tx1">
                        <a:lumMod val="75000"/>
                        <a:lumOff val="25000"/>
                      </a:schemeClr>
                    </a:solidFill>
                  </a:tcPr>
                </a:tc>
                <a:tc>
                  <a:txBody>
                    <a:bodyPr/>
                    <a:lstStyle/>
                    <a:p>
                      <a:r>
                        <a:rPr lang="en-US" sz="1600" dirty="0">
                          <a:solidFill>
                            <a:schemeClr val="bg1"/>
                          </a:solidFill>
                        </a:rPr>
                        <a:t>No controls</a:t>
                      </a:r>
                      <a:endParaRPr lang="en-NL" sz="16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r>
                        <a:rPr lang="en-US" sz="1600" dirty="0">
                          <a:solidFill>
                            <a:schemeClr val="bg1"/>
                          </a:solidFill>
                        </a:rPr>
                        <a:t>Low control quality</a:t>
                      </a:r>
                      <a:endParaRPr lang="en-NL" sz="16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r>
                        <a:rPr lang="en-US" sz="1600" dirty="0">
                          <a:solidFill>
                            <a:schemeClr val="bg1"/>
                          </a:solidFill>
                        </a:rPr>
                        <a:t>Medium control quality</a:t>
                      </a:r>
                      <a:endParaRPr lang="en-NL" sz="16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3457424222"/>
                  </a:ext>
                </a:extLst>
              </a:tr>
              <a:tr h="278717">
                <a:tc>
                  <a:txBody>
                    <a:bodyPr/>
                    <a:lstStyle/>
                    <a:p>
                      <a:r>
                        <a:rPr lang="en-US" sz="1600" dirty="0">
                          <a:solidFill>
                            <a:schemeClr val="bg1"/>
                          </a:solidFill>
                        </a:rPr>
                        <a:t>Medium probability</a:t>
                      </a:r>
                      <a:endParaRPr lang="en-NL" sz="1600" dirty="0">
                        <a:solidFill>
                          <a:schemeClr val="bg1"/>
                        </a:solidFill>
                      </a:endParaRPr>
                    </a:p>
                  </a:txBody>
                  <a:tcPr>
                    <a:lnR w="12700" cap="flat" cmpd="sng" algn="ctr">
                      <a:solidFill>
                        <a:schemeClr val="tx1"/>
                      </a:solidFill>
                      <a:prstDash val="solid"/>
                      <a:round/>
                      <a:headEnd type="none" w="med" len="med"/>
                      <a:tailEnd type="none" w="med" len="med"/>
                    </a:lnR>
                    <a:solidFill>
                      <a:schemeClr val="tx1">
                        <a:lumMod val="75000"/>
                        <a:lumOff val="25000"/>
                      </a:schemeClr>
                    </a:solidFill>
                  </a:tcPr>
                </a:tc>
                <a:tc>
                  <a:txBody>
                    <a:bodyPr/>
                    <a:lstStyle/>
                    <a:p>
                      <a:r>
                        <a:rPr lang="en-US" sz="1600" dirty="0">
                          <a:solidFill>
                            <a:schemeClr val="bg1"/>
                          </a:solidFill>
                        </a:rPr>
                        <a:t>Low control quality</a:t>
                      </a:r>
                      <a:endParaRPr lang="en-NL" sz="16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bg1"/>
                          </a:solidFill>
                        </a:rPr>
                        <a:t>Medium control quality</a:t>
                      </a:r>
                      <a:endParaRPr lang="en-NL" sz="16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bg1"/>
                          </a:solidFill>
                        </a:rPr>
                        <a:t>High control quality</a:t>
                      </a:r>
                      <a:endParaRPr lang="en-NL" sz="16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2372919870"/>
                  </a:ext>
                </a:extLst>
              </a:tr>
              <a:tr h="278717">
                <a:tc>
                  <a:txBody>
                    <a:bodyPr/>
                    <a:lstStyle/>
                    <a:p>
                      <a:r>
                        <a:rPr lang="en-US" sz="1600" dirty="0">
                          <a:solidFill>
                            <a:schemeClr val="bg1"/>
                          </a:solidFill>
                        </a:rPr>
                        <a:t>High probability</a:t>
                      </a:r>
                      <a:endParaRPr lang="en-NL" sz="1600" dirty="0">
                        <a:solidFill>
                          <a:schemeClr val="bg1"/>
                        </a:solidFill>
                      </a:endParaRPr>
                    </a:p>
                  </a:txBody>
                  <a:tcPr>
                    <a:lnR w="12700" cap="flat" cmpd="sng" algn="ctr">
                      <a:solidFill>
                        <a:schemeClr val="tx1"/>
                      </a:solidFill>
                      <a:prstDash val="solid"/>
                      <a:round/>
                      <a:headEnd type="none" w="med" len="med"/>
                      <a:tailEnd type="none" w="med" len="med"/>
                    </a:lnR>
                    <a:solidFill>
                      <a:schemeClr val="tx1">
                        <a:lumMod val="75000"/>
                        <a:lumOff val="2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bg1"/>
                          </a:solidFill>
                        </a:rPr>
                        <a:t>Medium control quality</a:t>
                      </a:r>
                      <a:endParaRPr lang="en-NL" sz="16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bg1"/>
                          </a:solidFill>
                        </a:rPr>
                        <a:t>High control quality</a:t>
                      </a:r>
                      <a:endParaRPr lang="en-NL" sz="16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r>
                        <a:rPr lang="en-US" sz="1600" dirty="0">
                          <a:solidFill>
                            <a:schemeClr val="bg1"/>
                          </a:solidFill>
                        </a:rPr>
                        <a:t>Highest control quality</a:t>
                      </a:r>
                      <a:endParaRPr lang="en-NL" sz="16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602806140"/>
                  </a:ext>
                </a:extLst>
              </a:tr>
            </a:tbl>
          </a:graphicData>
        </a:graphic>
      </p:graphicFrame>
    </p:spTree>
    <p:extLst>
      <p:ext uri="{BB962C8B-B14F-4D97-AF65-F5344CB8AC3E}">
        <p14:creationId xmlns:p14="http://schemas.microsoft.com/office/powerpoint/2010/main" val="10698764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346FA2B-EA52-0797-E19F-BDE1D8CC97E0}"/>
              </a:ext>
            </a:extLst>
          </p:cNvPr>
          <p:cNvSpPr>
            <a:spLocks noGrp="1"/>
          </p:cNvSpPr>
          <p:nvPr>
            <p:ph type="sldNum" sz="quarter" idx="12"/>
          </p:nvPr>
        </p:nvSpPr>
        <p:spPr/>
        <p:txBody>
          <a:bodyPr/>
          <a:lstStyle/>
          <a:p>
            <a:fld id="{48F63A3B-78C7-47BE-AE5E-E10140E04643}" type="slidenum">
              <a:rPr lang="en-US" smtClean="0"/>
              <a:t>11</a:t>
            </a:fld>
            <a:endParaRPr lang="en-US" dirty="0"/>
          </a:p>
        </p:txBody>
      </p:sp>
      <p:sp>
        <p:nvSpPr>
          <p:cNvPr id="3" name="TextBox 2">
            <a:extLst>
              <a:ext uri="{FF2B5EF4-FFF2-40B4-BE49-F238E27FC236}">
                <a16:creationId xmlns:a16="http://schemas.microsoft.com/office/drawing/2014/main" id="{B0B1E3C9-3E00-7AF5-9C86-3E21886F5EB9}"/>
              </a:ext>
            </a:extLst>
          </p:cNvPr>
          <p:cNvSpPr txBox="1"/>
          <p:nvPr/>
        </p:nvSpPr>
        <p:spPr>
          <a:xfrm>
            <a:off x="381959" y="213126"/>
            <a:ext cx="9777440"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3. Manage: control types (2/3)</a:t>
            </a:r>
            <a:endPar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graphicFrame>
        <p:nvGraphicFramePr>
          <p:cNvPr id="8" name="Table 8">
            <a:extLst>
              <a:ext uri="{FF2B5EF4-FFF2-40B4-BE49-F238E27FC236}">
                <a16:creationId xmlns:a16="http://schemas.microsoft.com/office/drawing/2014/main" id="{B326BF55-CA3B-82CC-C579-DFACB3618447}"/>
              </a:ext>
            </a:extLst>
          </p:cNvPr>
          <p:cNvGraphicFramePr>
            <a:graphicFrameLocks noGrp="1"/>
          </p:cNvGraphicFramePr>
          <p:nvPr>
            <p:extLst>
              <p:ext uri="{D42A27DB-BD31-4B8C-83A1-F6EECF244321}">
                <p14:modId xmlns:p14="http://schemas.microsoft.com/office/powerpoint/2010/main" val="185782422"/>
              </p:ext>
            </p:extLst>
          </p:nvPr>
        </p:nvGraphicFramePr>
        <p:xfrm>
          <a:off x="474215" y="839470"/>
          <a:ext cx="11049001" cy="5329387"/>
        </p:xfrm>
        <a:graphic>
          <a:graphicData uri="http://schemas.openxmlformats.org/drawingml/2006/table">
            <a:tbl>
              <a:tblPr firstRow="1" bandRow="1">
                <a:tableStyleId>{5940675A-B579-460E-94D1-54222C63F5DA}</a:tableStyleId>
              </a:tblPr>
              <a:tblGrid>
                <a:gridCol w="1528968">
                  <a:extLst>
                    <a:ext uri="{9D8B030D-6E8A-4147-A177-3AD203B41FA5}">
                      <a16:colId xmlns:a16="http://schemas.microsoft.com/office/drawing/2014/main" val="3496122045"/>
                    </a:ext>
                  </a:extLst>
                </a:gridCol>
                <a:gridCol w="6935317">
                  <a:extLst>
                    <a:ext uri="{9D8B030D-6E8A-4147-A177-3AD203B41FA5}">
                      <a16:colId xmlns:a16="http://schemas.microsoft.com/office/drawing/2014/main" val="3786553626"/>
                    </a:ext>
                  </a:extLst>
                </a:gridCol>
                <a:gridCol w="1399056">
                  <a:extLst>
                    <a:ext uri="{9D8B030D-6E8A-4147-A177-3AD203B41FA5}">
                      <a16:colId xmlns:a16="http://schemas.microsoft.com/office/drawing/2014/main" val="1378798903"/>
                    </a:ext>
                  </a:extLst>
                </a:gridCol>
                <a:gridCol w="1185660">
                  <a:extLst>
                    <a:ext uri="{9D8B030D-6E8A-4147-A177-3AD203B41FA5}">
                      <a16:colId xmlns:a16="http://schemas.microsoft.com/office/drawing/2014/main" val="2921359640"/>
                    </a:ext>
                  </a:extLst>
                </a:gridCol>
              </a:tblGrid>
              <a:tr h="635467">
                <a:tc>
                  <a:txBody>
                    <a:bodyPr/>
                    <a:lstStyle/>
                    <a:p>
                      <a:pPr algn="ctr"/>
                      <a:r>
                        <a:rPr lang="en-US" sz="1600" b="1" dirty="0">
                          <a:solidFill>
                            <a:schemeClr val="tx1"/>
                          </a:solidFill>
                        </a:rPr>
                        <a:t>Type of control</a:t>
                      </a:r>
                      <a:endParaRPr lang="en-NL" sz="1600" b="1" dirty="0">
                        <a:solidFill>
                          <a:schemeClr val="tx1"/>
                        </a:solidFill>
                      </a:endParaRP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b="1" dirty="0">
                          <a:solidFill>
                            <a:schemeClr val="tx1"/>
                          </a:solidFill>
                        </a:rPr>
                        <a:t>Description</a:t>
                      </a:r>
                      <a:endParaRPr lang="en-NL" sz="1600" b="1" dirty="0">
                        <a:solidFill>
                          <a:schemeClr val="tx1"/>
                        </a:solidFill>
                      </a:endParaRP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b="1" dirty="0">
                          <a:solidFill>
                            <a:schemeClr val="tx1"/>
                          </a:solidFill>
                        </a:rPr>
                        <a:t>Minimize probability of realization</a:t>
                      </a:r>
                      <a:endParaRPr lang="en-NL" sz="1600" b="1" dirty="0">
                        <a:solidFill>
                          <a:schemeClr val="tx1"/>
                        </a:solidFill>
                      </a:endParaRP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b="1" dirty="0">
                          <a:solidFill>
                            <a:schemeClr val="tx1"/>
                          </a:solidFill>
                        </a:rPr>
                        <a:t>Minimize severity of realization</a:t>
                      </a:r>
                      <a:endParaRPr lang="en-NL" sz="1600" b="1" dirty="0">
                        <a:solidFill>
                          <a:schemeClr val="tx1"/>
                        </a:solidFill>
                      </a:endParaRP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62938025"/>
                  </a:ext>
                </a:extLst>
              </a:tr>
              <a:tr h="635467">
                <a:tc>
                  <a:txBody>
                    <a:bodyPr/>
                    <a:lstStyle/>
                    <a:p>
                      <a:pPr algn="ctr"/>
                      <a:r>
                        <a:rPr lang="en-US" sz="1600" b="0" i="0" dirty="0">
                          <a:solidFill>
                            <a:schemeClr val="tx1"/>
                          </a:solidFill>
                          <a:effectLst/>
                          <a:latin typeface="Söhne"/>
                        </a:rPr>
                        <a:t>Preventative</a:t>
                      </a:r>
                      <a:endParaRPr lang="en-NL" sz="1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b="0" i="0" dirty="0">
                          <a:solidFill>
                            <a:schemeClr val="tx1"/>
                          </a:solidFill>
                          <a:effectLst/>
                          <a:latin typeface="Söhne"/>
                        </a:rPr>
                        <a:t>These controls are designed </a:t>
                      </a:r>
                      <a:r>
                        <a:rPr lang="en-US" sz="1600" b="1" i="0" dirty="0">
                          <a:solidFill>
                            <a:schemeClr val="tx1"/>
                          </a:solidFill>
                          <a:effectLst/>
                          <a:latin typeface="Söhne"/>
                        </a:rPr>
                        <a:t>to prevent operational risks</a:t>
                      </a:r>
                      <a:r>
                        <a:rPr lang="en-US" sz="1600" b="0" i="0" dirty="0">
                          <a:solidFill>
                            <a:schemeClr val="tx1"/>
                          </a:solidFill>
                          <a:effectLst/>
                          <a:latin typeface="Söhne"/>
                        </a:rPr>
                        <a:t> from occurring. Examples include procedures for segregating duties, background checks for employees, and cybersecurity measures</a:t>
                      </a:r>
                      <a:endParaRPr lang="en-NL" sz="1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3000" dirty="0">
                          <a:solidFill>
                            <a:schemeClr val="tx1"/>
                          </a:solidFill>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NL" sz="30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47260084"/>
                  </a:ext>
                </a:extLst>
              </a:tr>
              <a:tr h="635467">
                <a:tc>
                  <a:txBody>
                    <a:bodyPr/>
                    <a:lstStyle/>
                    <a:p>
                      <a:pPr algn="ctr"/>
                      <a:r>
                        <a:rPr lang="en-US" sz="1600" b="0" i="0" dirty="0">
                          <a:solidFill>
                            <a:schemeClr val="tx1"/>
                          </a:solidFill>
                          <a:effectLst/>
                          <a:latin typeface="Söhne"/>
                        </a:rPr>
                        <a:t>Detective</a:t>
                      </a:r>
                      <a:endParaRPr lang="en-NL" sz="1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chemeClr val="tx1"/>
                          </a:solidFill>
                          <a:effectLst/>
                          <a:latin typeface="Söhne"/>
                        </a:rPr>
                        <a:t>These controls are designed </a:t>
                      </a:r>
                      <a:r>
                        <a:rPr lang="en-US" sz="1600" b="1" i="0" dirty="0">
                          <a:solidFill>
                            <a:schemeClr val="tx1"/>
                          </a:solidFill>
                          <a:effectLst/>
                          <a:latin typeface="Söhne"/>
                        </a:rPr>
                        <a:t>to detect operational risks</a:t>
                      </a:r>
                      <a:r>
                        <a:rPr lang="en-US" sz="1600" b="0" i="0" dirty="0">
                          <a:solidFill>
                            <a:schemeClr val="tx1"/>
                          </a:solidFill>
                          <a:effectLst/>
                          <a:latin typeface="Söhne"/>
                        </a:rPr>
                        <a:t> that have already occurred. Examples include internal audits, management reviews, and employee training progra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NL" sz="30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3000" dirty="0">
                          <a:solidFill>
                            <a:schemeClr val="tx1"/>
                          </a:solidFill>
                        </a:rPr>
                        <a:t>X</a:t>
                      </a:r>
                      <a:endParaRPr lang="en-NL" sz="30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98145720"/>
                  </a:ext>
                </a:extLst>
              </a:tr>
              <a:tr h="635467">
                <a:tc>
                  <a:txBody>
                    <a:bodyPr/>
                    <a:lstStyle/>
                    <a:p>
                      <a:pPr algn="ctr"/>
                      <a:r>
                        <a:rPr lang="en-US" sz="1600" b="0" i="0" dirty="0">
                          <a:solidFill>
                            <a:schemeClr val="tx1"/>
                          </a:solidFill>
                          <a:effectLst/>
                          <a:latin typeface="Söhne"/>
                        </a:rPr>
                        <a:t>Corrective</a:t>
                      </a:r>
                      <a:endParaRPr lang="en-NL" sz="1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b="0" i="0" dirty="0">
                          <a:solidFill>
                            <a:schemeClr val="tx1"/>
                          </a:solidFill>
                          <a:effectLst/>
                          <a:latin typeface="Söhne"/>
                        </a:rPr>
                        <a:t>These controls are designed to correct operational risks that have already occurred. Examples include system repairs, process improvements, and employee disciplinary actions</a:t>
                      </a:r>
                      <a:endParaRPr lang="en-NL" sz="1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30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000" dirty="0">
                          <a:solidFill>
                            <a:schemeClr val="tx1"/>
                          </a:solidFill>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17270225"/>
                  </a:ext>
                </a:extLst>
              </a:tr>
              <a:tr h="447181">
                <a:tc>
                  <a:txBody>
                    <a:bodyPr/>
                    <a:lstStyle/>
                    <a:p>
                      <a:pPr algn="ctr"/>
                      <a:r>
                        <a:rPr lang="en-US" sz="1600" b="0" i="0" dirty="0">
                          <a:solidFill>
                            <a:schemeClr val="tx1"/>
                          </a:solidFill>
                          <a:effectLst/>
                          <a:latin typeface="Söhne"/>
                        </a:rPr>
                        <a:t>Directive</a:t>
                      </a:r>
                      <a:endParaRPr lang="en-NL" sz="1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chemeClr val="tx1"/>
                          </a:solidFill>
                          <a:effectLst/>
                          <a:latin typeface="Söhne"/>
                        </a:rPr>
                        <a:t>These controls are designed to provide direction to employees on how to perform their tasks. Examples include policies, procedures, and guidelin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000" dirty="0">
                          <a:solidFill>
                            <a:schemeClr val="tx1"/>
                          </a:solidFill>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000" dirty="0">
                          <a:solidFill>
                            <a:schemeClr val="tx1"/>
                          </a:solidFill>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46628305"/>
                  </a:ext>
                </a:extLst>
              </a:tr>
              <a:tr h="635467">
                <a:tc>
                  <a:txBody>
                    <a:bodyPr/>
                    <a:lstStyle/>
                    <a:p>
                      <a:pPr algn="ctr"/>
                      <a:r>
                        <a:rPr lang="en-US" sz="1600" b="0" i="0" dirty="0">
                          <a:solidFill>
                            <a:schemeClr val="tx1"/>
                          </a:solidFill>
                          <a:effectLst/>
                          <a:latin typeface="Söhne"/>
                        </a:rPr>
                        <a:t>Deterrent</a:t>
                      </a:r>
                      <a:endParaRPr lang="en-NL" sz="1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chemeClr val="tx1"/>
                          </a:solidFill>
                          <a:effectLst/>
                          <a:latin typeface="Söhne"/>
                        </a:rPr>
                        <a:t>These controls are designed to deter employees from engaging in risky behavior. Examples include sanctions, consequences for violating policies, and internal investig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000" dirty="0">
                          <a:solidFill>
                            <a:schemeClr val="tx1"/>
                          </a:solidFill>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000" dirty="0">
                          <a:solidFill>
                            <a:schemeClr val="tx1"/>
                          </a:solidFill>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39387639"/>
                  </a:ext>
                </a:extLst>
              </a:tr>
              <a:tr h="635467">
                <a:tc>
                  <a:txBody>
                    <a:bodyPr/>
                    <a:lstStyle/>
                    <a:p>
                      <a:pPr algn="ctr"/>
                      <a:r>
                        <a:rPr lang="en-US" sz="1600" b="0" i="0" dirty="0">
                          <a:solidFill>
                            <a:schemeClr val="tx1"/>
                          </a:solidFill>
                          <a:effectLst/>
                          <a:latin typeface="Söhne"/>
                        </a:rPr>
                        <a:t>Compensatory</a:t>
                      </a:r>
                      <a:endParaRPr lang="en-NL" sz="16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chemeClr val="tx1"/>
                          </a:solidFill>
                          <a:effectLst/>
                          <a:latin typeface="Söhne"/>
                        </a:rPr>
                        <a:t>These controls are designed to compensate for the absence of other controls. Examples include backup systems, redundant processes, and contingency pla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000" dirty="0">
                          <a:solidFill>
                            <a:schemeClr val="tx1"/>
                          </a:solidFill>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000" dirty="0">
                          <a:solidFill>
                            <a:schemeClr val="tx1"/>
                          </a:solidFill>
                        </a:rPr>
                        <a:t>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67721262"/>
                  </a:ext>
                </a:extLst>
              </a:tr>
            </a:tbl>
          </a:graphicData>
        </a:graphic>
      </p:graphicFrame>
    </p:spTree>
    <p:extLst>
      <p:ext uri="{BB962C8B-B14F-4D97-AF65-F5344CB8AC3E}">
        <p14:creationId xmlns:p14="http://schemas.microsoft.com/office/powerpoint/2010/main" val="26826448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346FA2B-EA52-0797-E19F-BDE1D8CC97E0}"/>
              </a:ext>
            </a:extLst>
          </p:cNvPr>
          <p:cNvSpPr>
            <a:spLocks noGrp="1"/>
          </p:cNvSpPr>
          <p:nvPr>
            <p:ph type="sldNum" sz="quarter" idx="12"/>
          </p:nvPr>
        </p:nvSpPr>
        <p:spPr/>
        <p:txBody>
          <a:bodyPr/>
          <a:lstStyle/>
          <a:p>
            <a:fld id="{48F63A3B-78C7-47BE-AE5E-E10140E04643}" type="slidenum">
              <a:rPr lang="en-US" smtClean="0"/>
              <a:t>12</a:t>
            </a:fld>
            <a:endParaRPr lang="en-US" dirty="0"/>
          </a:p>
        </p:txBody>
      </p:sp>
      <p:sp>
        <p:nvSpPr>
          <p:cNvPr id="3" name="TextBox 2">
            <a:extLst>
              <a:ext uri="{FF2B5EF4-FFF2-40B4-BE49-F238E27FC236}">
                <a16:creationId xmlns:a16="http://schemas.microsoft.com/office/drawing/2014/main" id="{B0B1E3C9-3E00-7AF5-9C86-3E21886F5EB9}"/>
              </a:ext>
            </a:extLst>
          </p:cNvPr>
          <p:cNvSpPr txBox="1"/>
          <p:nvPr/>
        </p:nvSpPr>
        <p:spPr>
          <a:xfrm>
            <a:off x="381959" y="213126"/>
            <a:ext cx="9777440"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3. Manage: </a:t>
            </a: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Risk culture (3/3)</a:t>
            </a:r>
          </a:p>
        </p:txBody>
      </p:sp>
      <p:sp>
        <p:nvSpPr>
          <p:cNvPr id="5" name="TextBox 4">
            <a:extLst>
              <a:ext uri="{FF2B5EF4-FFF2-40B4-BE49-F238E27FC236}">
                <a16:creationId xmlns:a16="http://schemas.microsoft.com/office/drawing/2014/main" id="{B9CF9A2A-671D-70DD-36CC-0F4E4F38C413}"/>
              </a:ext>
            </a:extLst>
          </p:cNvPr>
          <p:cNvSpPr txBox="1"/>
          <p:nvPr/>
        </p:nvSpPr>
        <p:spPr>
          <a:xfrm>
            <a:off x="540866" y="1103650"/>
            <a:ext cx="10971841" cy="707886"/>
          </a:xfrm>
          <a:prstGeom prst="rect">
            <a:avLst/>
          </a:prstGeom>
          <a:noFill/>
          <a:ln w="19050">
            <a:solidFill>
              <a:srgbClr val="FF0E0E"/>
            </a:solidFill>
          </a:ln>
        </p:spPr>
        <p:txBody>
          <a:bodyPr wrap="square" rtlCol="0">
            <a:spAutoFit/>
          </a:bodyPr>
          <a:lstStyle/>
          <a:p>
            <a:r>
              <a:rPr lang="en-US" sz="2000" dirty="0"/>
              <a:t>Risk Culture is an essential component that enforces the efficiency of the control environment of all Business lines and Business processes</a:t>
            </a:r>
          </a:p>
        </p:txBody>
      </p:sp>
      <p:pic>
        <p:nvPicPr>
          <p:cNvPr id="6" name="Picture 5">
            <a:extLst>
              <a:ext uri="{FF2B5EF4-FFF2-40B4-BE49-F238E27FC236}">
                <a16:creationId xmlns:a16="http://schemas.microsoft.com/office/drawing/2014/main" id="{F7ABF3C2-BDAA-1879-E06E-A50E3769B7FC}"/>
              </a:ext>
            </a:extLst>
          </p:cNvPr>
          <p:cNvPicPr>
            <a:picLocks noChangeAspect="1"/>
          </p:cNvPicPr>
          <p:nvPr/>
        </p:nvPicPr>
        <p:blipFill>
          <a:blip r:embed="rId2"/>
          <a:stretch>
            <a:fillRect/>
          </a:stretch>
        </p:blipFill>
        <p:spPr>
          <a:xfrm>
            <a:off x="381959" y="1924321"/>
            <a:ext cx="11289656" cy="3917735"/>
          </a:xfrm>
          <a:prstGeom prst="rect">
            <a:avLst/>
          </a:prstGeom>
        </p:spPr>
      </p:pic>
    </p:spTree>
    <p:extLst>
      <p:ext uri="{BB962C8B-B14F-4D97-AF65-F5344CB8AC3E}">
        <p14:creationId xmlns:p14="http://schemas.microsoft.com/office/powerpoint/2010/main" val="2284285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346FA2B-EA52-0797-E19F-BDE1D8CC97E0}"/>
              </a:ext>
            </a:extLst>
          </p:cNvPr>
          <p:cNvSpPr>
            <a:spLocks noGrp="1"/>
          </p:cNvSpPr>
          <p:nvPr>
            <p:ph type="sldNum" sz="quarter" idx="12"/>
          </p:nvPr>
        </p:nvSpPr>
        <p:spPr/>
        <p:txBody>
          <a:bodyPr/>
          <a:lstStyle/>
          <a:p>
            <a:fld id="{48F63A3B-78C7-47BE-AE5E-E10140E04643}" type="slidenum">
              <a:rPr lang="en-US" smtClean="0"/>
              <a:t>13</a:t>
            </a:fld>
            <a:endParaRPr lang="en-US" dirty="0"/>
          </a:p>
        </p:txBody>
      </p:sp>
      <p:sp>
        <p:nvSpPr>
          <p:cNvPr id="3" name="TextBox 2">
            <a:extLst>
              <a:ext uri="{FF2B5EF4-FFF2-40B4-BE49-F238E27FC236}">
                <a16:creationId xmlns:a16="http://schemas.microsoft.com/office/drawing/2014/main" id="{B0B1E3C9-3E00-7AF5-9C86-3E21886F5EB9}"/>
              </a:ext>
            </a:extLst>
          </p:cNvPr>
          <p:cNvSpPr txBox="1"/>
          <p:nvPr/>
        </p:nvSpPr>
        <p:spPr>
          <a:xfrm>
            <a:off x="381959" y="213126"/>
            <a:ext cx="9777440"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4. Monitor</a:t>
            </a:r>
            <a:endPar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4" name="TextBox 3">
            <a:extLst>
              <a:ext uri="{FF2B5EF4-FFF2-40B4-BE49-F238E27FC236}">
                <a16:creationId xmlns:a16="http://schemas.microsoft.com/office/drawing/2014/main" id="{1644B35A-478C-4A6E-AAA7-E39CFD9BE9C0}"/>
              </a:ext>
            </a:extLst>
          </p:cNvPr>
          <p:cNvSpPr txBox="1"/>
          <p:nvPr/>
        </p:nvSpPr>
        <p:spPr>
          <a:xfrm>
            <a:off x="381959" y="847150"/>
            <a:ext cx="11265763" cy="5509200"/>
          </a:xfrm>
          <a:prstGeom prst="rect">
            <a:avLst/>
          </a:prstGeom>
          <a:noFill/>
        </p:spPr>
        <p:txBody>
          <a:bodyPr wrap="square" rtlCol="0">
            <a:spAutoFit/>
          </a:bodyPr>
          <a:lstStyle/>
          <a:p>
            <a:r>
              <a:rPr lang="en-US" sz="2200" b="1" dirty="0"/>
              <a:t>Step 1.</a:t>
            </a:r>
            <a:r>
              <a:rPr lang="en-US" sz="2200" dirty="0"/>
              <a:t> Metrics I - IV should be settled on an annual basis. Depends on the significance of the product metrics need to be decomposed on the level of: </a:t>
            </a:r>
          </a:p>
          <a:p>
            <a:pPr marL="342900" indent="-342900">
              <a:buFont typeface="Arial" panose="020B0604020202020204" pitchFamily="34" charset="0"/>
              <a:buChar char="•"/>
            </a:pPr>
            <a:r>
              <a:rPr lang="en-US" sz="2200" dirty="0"/>
              <a:t>Business line (BL) </a:t>
            </a:r>
          </a:p>
          <a:p>
            <a:pPr marL="342900" indent="-342900">
              <a:buFont typeface="Arial" panose="020B0604020202020204" pitchFamily="34" charset="0"/>
              <a:buChar char="•"/>
            </a:pPr>
            <a:r>
              <a:rPr lang="en-US" sz="2200" dirty="0"/>
              <a:t>Business process (BP) </a:t>
            </a:r>
          </a:p>
          <a:p>
            <a:pPr marL="342900" indent="-342900">
              <a:buFont typeface="Arial" panose="020B0604020202020204" pitchFamily="34" charset="0"/>
              <a:buChar char="•"/>
            </a:pPr>
            <a:r>
              <a:rPr lang="en-US" sz="2200" dirty="0"/>
              <a:t>Risk Owner (RO)</a:t>
            </a:r>
          </a:p>
          <a:p>
            <a:endParaRPr lang="en-US" sz="2200" dirty="0"/>
          </a:p>
          <a:p>
            <a:r>
              <a:rPr lang="en-US" sz="2200" b="1" dirty="0"/>
              <a:t>Step 2. </a:t>
            </a:r>
            <a:r>
              <a:rPr lang="en-US" sz="2200" dirty="0"/>
              <a:t>Organize reporting to all relevant stakeholders:</a:t>
            </a:r>
          </a:p>
          <a:p>
            <a:pPr marL="342900" indent="-342900">
              <a:buFont typeface="Arial" panose="020B0604020202020204" pitchFamily="34" charset="0"/>
              <a:buChar char="•"/>
            </a:pPr>
            <a:r>
              <a:rPr lang="en-US" sz="2200" dirty="0"/>
              <a:t>Regulator:</a:t>
            </a:r>
          </a:p>
          <a:p>
            <a:pPr marL="342900" indent="-342900">
              <a:buFont typeface="Arial" panose="020B0604020202020204" pitchFamily="34" charset="0"/>
              <a:buChar char="•"/>
            </a:pPr>
            <a:r>
              <a:rPr lang="en-US" sz="2200" dirty="0"/>
              <a:t>Top management:</a:t>
            </a:r>
          </a:p>
          <a:p>
            <a:pPr marL="800100" lvl="1" indent="-342900">
              <a:buFont typeface="Arial" panose="020B0604020202020204" pitchFamily="34" charset="0"/>
              <a:buChar char="•"/>
            </a:pPr>
            <a:r>
              <a:rPr lang="en-US" sz="2200" dirty="0"/>
              <a:t>responsible for business lines performance</a:t>
            </a:r>
          </a:p>
          <a:p>
            <a:pPr marL="800100" lvl="1" indent="-342900">
              <a:buFont typeface="Arial" panose="020B0604020202020204" pitchFamily="34" charset="0"/>
              <a:buChar char="•"/>
            </a:pPr>
            <a:r>
              <a:rPr lang="en-US" sz="2200" dirty="0"/>
              <a:t>management board</a:t>
            </a:r>
          </a:p>
          <a:p>
            <a:pPr marL="342900" indent="-342900">
              <a:buFont typeface="Arial" panose="020B0604020202020204" pitchFamily="34" charset="0"/>
              <a:buChar char="•"/>
            </a:pPr>
            <a:r>
              <a:rPr lang="en-US" sz="2200" dirty="0"/>
              <a:t>Internal and external auditor</a:t>
            </a:r>
          </a:p>
          <a:p>
            <a:pPr marL="285750" indent="-285750">
              <a:buFontTx/>
              <a:buChar char="-"/>
            </a:pPr>
            <a:endParaRPr lang="en-US" sz="2200" dirty="0"/>
          </a:p>
          <a:p>
            <a:r>
              <a:rPr lang="en-US" sz="2200" b="1" dirty="0"/>
              <a:t>Step 3.</a:t>
            </a:r>
            <a:r>
              <a:rPr lang="en-US" sz="2200" dirty="0"/>
              <a:t> Monitor the metrics and if any outliers occur:</a:t>
            </a:r>
          </a:p>
          <a:p>
            <a:pPr marL="342900" indent="-342900">
              <a:buFont typeface="Arial" panose="020B0604020202020204" pitchFamily="34" charset="0"/>
              <a:buChar char="•"/>
            </a:pPr>
            <a:r>
              <a:rPr lang="en-US" sz="2200" dirty="0"/>
              <a:t>Urgent management response</a:t>
            </a:r>
          </a:p>
          <a:p>
            <a:pPr marL="342900" indent="-342900">
              <a:buFont typeface="Arial" panose="020B0604020202020204" pitchFamily="34" charset="0"/>
              <a:buChar char="•"/>
            </a:pPr>
            <a:r>
              <a:rPr lang="en-US" sz="2200" dirty="0"/>
              <a:t>Refinement of limits</a:t>
            </a:r>
            <a:endParaRPr lang="en-NL" sz="2200" dirty="0"/>
          </a:p>
        </p:txBody>
      </p:sp>
    </p:spTree>
    <p:extLst>
      <p:ext uri="{BB962C8B-B14F-4D97-AF65-F5344CB8AC3E}">
        <p14:creationId xmlns:p14="http://schemas.microsoft.com/office/powerpoint/2010/main" val="7079956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346FA2B-EA52-0797-E19F-BDE1D8CC97E0}"/>
              </a:ext>
            </a:extLst>
          </p:cNvPr>
          <p:cNvSpPr>
            <a:spLocks noGrp="1"/>
          </p:cNvSpPr>
          <p:nvPr>
            <p:ph type="sldNum" sz="quarter" idx="12"/>
          </p:nvPr>
        </p:nvSpPr>
        <p:spPr/>
        <p:txBody>
          <a:bodyPr/>
          <a:lstStyle/>
          <a:p>
            <a:fld id="{48F63A3B-78C7-47BE-AE5E-E10140E04643}" type="slidenum">
              <a:rPr lang="en-US" smtClean="0"/>
              <a:t>14</a:t>
            </a:fld>
            <a:endParaRPr lang="en-US" dirty="0"/>
          </a:p>
        </p:txBody>
      </p:sp>
      <p:sp>
        <p:nvSpPr>
          <p:cNvPr id="3" name="TextBox 2">
            <a:extLst>
              <a:ext uri="{FF2B5EF4-FFF2-40B4-BE49-F238E27FC236}">
                <a16:creationId xmlns:a16="http://schemas.microsoft.com/office/drawing/2014/main" id="{B0B1E3C9-3E00-7AF5-9C86-3E21886F5EB9}"/>
              </a:ext>
            </a:extLst>
          </p:cNvPr>
          <p:cNvSpPr txBox="1"/>
          <p:nvPr/>
        </p:nvSpPr>
        <p:spPr>
          <a:xfrm>
            <a:off x="381959" y="213126"/>
            <a:ext cx="9777440"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Operational risk – Cases</a:t>
            </a:r>
            <a:endPar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4" name="TextBox 3">
            <a:extLst>
              <a:ext uri="{FF2B5EF4-FFF2-40B4-BE49-F238E27FC236}">
                <a16:creationId xmlns:a16="http://schemas.microsoft.com/office/drawing/2014/main" id="{068959D8-736E-2816-3A1C-C1169815369D}"/>
              </a:ext>
            </a:extLst>
          </p:cNvPr>
          <p:cNvSpPr txBox="1"/>
          <p:nvPr/>
        </p:nvSpPr>
        <p:spPr>
          <a:xfrm>
            <a:off x="523783" y="994299"/>
            <a:ext cx="10830017" cy="4524315"/>
          </a:xfrm>
          <a:prstGeom prst="rect">
            <a:avLst/>
          </a:prstGeom>
          <a:noFill/>
        </p:spPr>
        <p:txBody>
          <a:bodyPr wrap="square" rtlCol="0">
            <a:spAutoFit/>
          </a:bodyPr>
          <a:lstStyle/>
          <a:p>
            <a:pPr marL="342900" indent="-342900" algn="l">
              <a:buFont typeface="+mj-lt"/>
              <a:buAutoNum type="arabicPeriod"/>
            </a:pPr>
            <a:r>
              <a:rPr lang="en-US" b="0" i="0" dirty="0">
                <a:solidFill>
                  <a:srgbClr val="374151"/>
                </a:solidFill>
                <a:effectLst/>
                <a:latin typeface="Arial" panose="020B0604020202020204" pitchFamily="34" charset="0"/>
                <a:cs typeface="Arial" panose="020B0604020202020204" pitchFamily="34" charset="0"/>
                <a:hlinkClick r:id="rId2"/>
              </a:rPr>
              <a:t>JPMorgan Chase: In 2012, the bank suffered a multi-billion dollar trading loss due to poor risk management and oversight. The incident was attributed to the actions of a single trader, known as the "London Whale.“</a:t>
            </a:r>
            <a:endParaRPr lang="en-US" b="0" i="0" dirty="0">
              <a:solidFill>
                <a:srgbClr val="374151"/>
              </a:solidFill>
              <a:effectLst/>
              <a:latin typeface="Arial" panose="020B0604020202020204" pitchFamily="34" charset="0"/>
              <a:cs typeface="Arial" panose="020B0604020202020204" pitchFamily="34" charset="0"/>
            </a:endParaRPr>
          </a:p>
          <a:p>
            <a:pPr marL="342900" indent="-342900" algn="l">
              <a:buFont typeface="+mj-lt"/>
              <a:buAutoNum type="arabicPeriod"/>
            </a:pPr>
            <a:endParaRPr lang="en-US" b="0" i="0" dirty="0">
              <a:solidFill>
                <a:srgbClr val="374151"/>
              </a:solidFill>
              <a:effectLst/>
              <a:latin typeface="Arial" panose="020B0604020202020204" pitchFamily="34" charset="0"/>
              <a:cs typeface="Arial" panose="020B0604020202020204" pitchFamily="34" charset="0"/>
            </a:endParaRPr>
          </a:p>
          <a:p>
            <a:pPr marL="342900" indent="-342900" algn="l">
              <a:buFont typeface="+mj-lt"/>
              <a:buAutoNum type="arabicPeriod"/>
            </a:pPr>
            <a:r>
              <a:rPr lang="en-US" b="0" i="0" dirty="0">
                <a:solidFill>
                  <a:srgbClr val="374151"/>
                </a:solidFill>
                <a:effectLst/>
                <a:latin typeface="Arial" panose="020B0604020202020204" pitchFamily="34" charset="0"/>
                <a:cs typeface="Arial" panose="020B0604020202020204" pitchFamily="34" charset="0"/>
                <a:hlinkClick r:id="rId3"/>
              </a:rPr>
              <a:t>Wells Fargo: In 2016, the bank was fined $185 million for opening millions of unauthorized accounts on behalf of customers without their knowledge or consent. The scandal was attributed to aggressive sales practices and weak internal controls.</a:t>
            </a:r>
            <a:endParaRPr lang="en-US" b="0" i="0" dirty="0">
              <a:solidFill>
                <a:srgbClr val="374151"/>
              </a:solidFill>
              <a:effectLst/>
              <a:latin typeface="Arial" panose="020B0604020202020204" pitchFamily="34" charset="0"/>
              <a:cs typeface="Arial" panose="020B0604020202020204" pitchFamily="34" charset="0"/>
            </a:endParaRPr>
          </a:p>
          <a:p>
            <a:pPr marL="342900" indent="-342900" algn="l">
              <a:buFont typeface="+mj-lt"/>
              <a:buAutoNum type="arabicPeriod"/>
            </a:pPr>
            <a:endParaRPr lang="en-US" b="0" i="0" dirty="0">
              <a:solidFill>
                <a:srgbClr val="374151"/>
              </a:solidFill>
              <a:effectLst/>
              <a:latin typeface="Arial" panose="020B0604020202020204" pitchFamily="34" charset="0"/>
              <a:cs typeface="Arial" panose="020B0604020202020204" pitchFamily="34" charset="0"/>
            </a:endParaRPr>
          </a:p>
          <a:p>
            <a:pPr marL="342900" indent="-342900" algn="l">
              <a:buFont typeface="+mj-lt"/>
              <a:buAutoNum type="arabicPeriod"/>
            </a:pPr>
            <a:r>
              <a:rPr lang="en-US" b="0" i="0" dirty="0">
                <a:solidFill>
                  <a:srgbClr val="374151"/>
                </a:solidFill>
                <a:effectLst/>
                <a:latin typeface="Arial" panose="020B0604020202020204" pitchFamily="34" charset="0"/>
                <a:cs typeface="Arial" panose="020B0604020202020204" pitchFamily="34" charset="0"/>
                <a:hlinkClick r:id="rId4"/>
              </a:rPr>
              <a:t>Equifax: In 2017, the credit reporting agency experienced a massive data breach that compromised the personal information of over 140 million consumers. The breach was attributed to a failure to patch a known vulnerability in a web application, as well as weak cybersecurity practices.</a:t>
            </a:r>
            <a:endParaRPr lang="en-US" b="0" i="0" dirty="0">
              <a:solidFill>
                <a:srgbClr val="374151"/>
              </a:solidFill>
              <a:effectLst/>
              <a:latin typeface="Arial" panose="020B0604020202020204" pitchFamily="34" charset="0"/>
              <a:cs typeface="Arial" panose="020B0604020202020204" pitchFamily="34" charset="0"/>
            </a:endParaRPr>
          </a:p>
          <a:p>
            <a:pPr marL="342900" indent="-342900" algn="l">
              <a:buFont typeface="+mj-lt"/>
              <a:buAutoNum type="arabicPeriod"/>
            </a:pPr>
            <a:endParaRPr lang="en-US" b="0" i="0" dirty="0">
              <a:solidFill>
                <a:srgbClr val="374151"/>
              </a:solidFill>
              <a:effectLst/>
              <a:latin typeface="Arial" panose="020B0604020202020204" pitchFamily="34" charset="0"/>
              <a:cs typeface="Arial" panose="020B0604020202020204" pitchFamily="34" charset="0"/>
            </a:endParaRPr>
          </a:p>
          <a:p>
            <a:pPr marL="342900" indent="-342900" algn="l">
              <a:buFont typeface="+mj-lt"/>
              <a:buAutoNum type="arabicPeriod"/>
            </a:pPr>
            <a:r>
              <a:rPr lang="en-US" b="0" i="0" dirty="0">
                <a:solidFill>
                  <a:srgbClr val="374151"/>
                </a:solidFill>
                <a:effectLst/>
                <a:latin typeface="Arial" panose="020B0604020202020204" pitchFamily="34" charset="0"/>
                <a:cs typeface="Arial" panose="020B0604020202020204" pitchFamily="34" charset="0"/>
                <a:hlinkClick r:id="rId5"/>
              </a:rPr>
              <a:t>Societe </a:t>
            </a:r>
            <a:r>
              <a:rPr lang="en-US" b="0" i="0" dirty="0" err="1">
                <a:solidFill>
                  <a:srgbClr val="374151"/>
                </a:solidFill>
                <a:effectLst/>
                <a:latin typeface="Arial" panose="020B0604020202020204" pitchFamily="34" charset="0"/>
                <a:cs typeface="Arial" panose="020B0604020202020204" pitchFamily="34" charset="0"/>
                <a:hlinkClick r:id="rId5"/>
              </a:rPr>
              <a:t>Generale</a:t>
            </a:r>
            <a:r>
              <a:rPr lang="en-US" b="0" i="0" dirty="0">
                <a:solidFill>
                  <a:srgbClr val="374151"/>
                </a:solidFill>
                <a:effectLst/>
                <a:latin typeface="Arial" panose="020B0604020202020204" pitchFamily="34" charset="0"/>
                <a:cs typeface="Arial" panose="020B0604020202020204" pitchFamily="34" charset="0"/>
                <a:hlinkClick r:id="rId5"/>
              </a:rPr>
              <a:t>: In 2008, the bank suffered a multi-billion dollar trading loss due to unauthorized trades made by a single trader </a:t>
            </a:r>
            <a:r>
              <a:rPr lang="en-US" b="0" i="0" dirty="0">
                <a:solidFill>
                  <a:srgbClr val="202122"/>
                </a:solidFill>
                <a:effectLst/>
                <a:latin typeface="Arial" panose="020B0604020202020204" pitchFamily="34" charset="0"/>
                <a:cs typeface="Arial" panose="020B0604020202020204" pitchFamily="34" charset="0"/>
                <a:hlinkClick r:id="rId5"/>
              </a:rPr>
              <a:t>“he had taken massive fraudulent directional positions in 2007 and 2008 far beyond his limited authority"</a:t>
            </a:r>
            <a:r>
              <a:rPr lang="en-US" b="0" i="0" dirty="0">
                <a:solidFill>
                  <a:srgbClr val="374151"/>
                </a:solidFill>
                <a:effectLst/>
                <a:latin typeface="Arial" panose="020B0604020202020204" pitchFamily="34" charset="0"/>
                <a:cs typeface="Arial" panose="020B0604020202020204" pitchFamily="34" charset="0"/>
                <a:hlinkClick r:id="rId5"/>
              </a:rPr>
              <a:t>. The incident was attributed to a lack of oversight and control mechanisms, as well as the trader's ability to bypass existing checks and balances.</a:t>
            </a:r>
            <a:endParaRPr lang="en-US" b="0" i="0" dirty="0">
              <a:solidFill>
                <a:srgbClr val="374151"/>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370114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346FA2B-EA52-0797-E19F-BDE1D8CC97E0}"/>
              </a:ext>
            </a:extLst>
          </p:cNvPr>
          <p:cNvSpPr>
            <a:spLocks noGrp="1"/>
          </p:cNvSpPr>
          <p:nvPr>
            <p:ph type="sldNum" sz="quarter" idx="12"/>
          </p:nvPr>
        </p:nvSpPr>
        <p:spPr/>
        <p:txBody>
          <a:bodyPr/>
          <a:lstStyle/>
          <a:p>
            <a:fld id="{48F63A3B-78C7-47BE-AE5E-E10140E04643}" type="slidenum">
              <a:rPr lang="en-US" smtClean="0"/>
              <a:t>15</a:t>
            </a:fld>
            <a:endParaRPr lang="en-US" dirty="0"/>
          </a:p>
        </p:txBody>
      </p:sp>
      <p:sp>
        <p:nvSpPr>
          <p:cNvPr id="3" name="TextBox 2">
            <a:extLst>
              <a:ext uri="{FF2B5EF4-FFF2-40B4-BE49-F238E27FC236}">
                <a16:creationId xmlns:a16="http://schemas.microsoft.com/office/drawing/2014/main" id="{B0B1E3C9-3E00-7AF5-9C86-3E21886F5EB9}"/>
              </a:ext>
            </a:extLst>
          </p:cNvPr>
          <p:cNvSpPr txBox="1"/>
          <p:nvPr/>
        </p:nvSpPr>
        <p:spPr>
          <a:xfrm>
            <a:off x="381959" y="213126"/>
            <a:ext cx="9777440"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Operational risk – 2023 Risk report overview</a:t>
            </a:r>
            <a:endPar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pic>
        <p:nvPicPr>
          <p:cNvPr id="7" name="Picture 6">
            <a:extLst>
              <a:ext uri="{FF2B5EF4-FFF2-40B4-BE49-F238E27FC236}">
                <a16:creationId xmlns:a16="http://schemas.microsoft.com/office/drawing/2014/main" id="{F7EADA02-5883-7BF1-60A5-08BEB0F3B29C}"/>
              </a:ext>
            </a:extLst>
          </p:cNvPr>
          <p:cNvPicPr>
            <a:picLocks noChangeAspect="1"/>
          </p:cNvPicPr>
          <p:nvPr/>
        </p:nvPicPr>
        <p:blipFill>
          <a:blip r:embed="rId2"/>
          <a:stretch>
            <a:fillRect/>
          </a:stretch>
        </p:blipFill>
        <p:spPr>
          <a:xfrm>
            <a:off x="533400" y="794352"/>
            <a:ext cx="8582320" cy="5799138"/>
          </a:xfrm>
          <a:prstGeom prst="rect">
            <a:avLst/>
          </a:prstGeom>
        </p:spPr>
      </p:pic>
      <p:sp>
        <p:nvSpPr>
          <p:cNvPr id="8" name="Rectangle 7">
            <a:extLst>
              <a:ext uri="{FF2B5EF4-FFF2-40B4-BE49-F238E27FC236}">
                <a16:creationId xmlns:a16="http://schemas.microsoft.com/office/drawing/2014/main" id="{B2F3F7D0-E2FB-7BDC-F061-750DD5D32B50}"/>
              </a:ext>
            </a:extLst>
          </p:cNvPr>
          <p:cNvSpPr/>
          <p:nvPr/>
        </p:nvSpPr>
        <p:spPr>
          <a:xfrm>
            <a:off x="2055046" y="4644416"/>
            <a:ext cx="7192652" cy="471341"/>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9" name="Rectangle 8">
            <a:extLst>
              <a:ext uri="{FF2B5EF4-FFF2-40B4-BE49-F238E27FC236}">
                <a16:creationId xmlns:a16="http://schemas.microsoft.com/office/drawing/2014/main" id="{A3F55059-E027-CEFB-4E48-BF19D4F7FA7D}"/>
              </a:ext>
            </a:extLst>
          </p:cNvPr>
          <p:cNvSpPr/>
          <p:nvPr/>
        </p:nvSpPr>
        <p:spPr>
          <a:xfrm>
            <a:off x="2055046" y="2213584"/>
            <a:ext cx="3346513" cy="471341"/>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10" name="Rectangle 9">
            <a:extLst>
              <a:ext uri="{FF2B5EF4-FFF2-40B4-BE49-F238E27FC236}">
                <a16:creationId xmlns:a16="http://schemas.microsoft.com/office/drawing/2014/main" id="{D603A433-5961-8530-0D48-E001A79448EF}"/>
              </a:ext>
            </a:extLst>
          </p:cNvPr>
          <p:cNvSpPr/>
          <p:nvPr/>
        </p:nvSpPr>
        <p:spPr>
          <a:xfrm>
            <a:off x="2055046" y="3868486"/>
            <a:ext cx="3346513" cy="471341"/>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Tree>
    <p:extLst>
      <p:ext uri="{BB962C8B-B14F-4D97-AF65-F5344CB8AC3E}">
        <p14:creationId xmlns:p14="http://schemas.microsoft.com/office/powerpoint/2010/main" val="1780132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02DD8CD-A577-F856-8CB3-BEFD6265A115}"/>
              </a:ext>
            </a:extLst>
          </p:cNvPr>
          <p:cNvSpPr>
            <a:spLocks noGrp="1"/>
          </p:cNvSpPr>
          <p:nvPr>
            <p:ph type="sldNum" sz="quarter" idx="12"/>
          </p:nvPr>
        </p:nvSpPr>
        <p:spPr/>
        <p:txBody>
          <a:bodyPr/>
          <a:lstStyle/>
          <a:p>
            <a:fld id="{48F63A3B-78C7-47BE-AE5E-E10140E04643}" type="slidenum">
              <a:rPr lang="en-US" smtClean="0"/>
              <a:t>2</a:t>
            </a:fld>
            <a:endParaRPr lang="en-US" dirty="0"/>
          </a:p>
        </p:txBody>
      </p:sp>
      <p:sp>
        <p:nvSpPr>
          <p:cNvPr id="5" name="TextBox 4">
            <a:extLst>
              <a:ext uri="{FF2B5EF4-FFF2-40B4-BE49-F238E27FC236}">
                <a16:creationId xmlns:a16="http://schemas.microsoft.com/office/drawing/2014/main" id="{A5099883-2320-2D9A-3BFE-E5C7ECE2D064}"/>
              </a:ext>
            </a:extLst>
          </p:cNvPr>
          <p:cNvSpPr txBox="1"/>
          <p:nvPr/>
        </p:nvSpPr>
        <p:spPr>
          <a:xfrm>
            <a:off x="381959" y="6490985"/>
            <a:ext cx="6094520" cy="307777"/>
          </a:xfrm>
          <a:prstGeom prst="rect">
            <a:avLst/>
          </a:prstGeom>
          <a:noFill/>
        </p:spPr>
        <p:txBody>
          <a:bodyPr wrap="square">
            <a:spAutoFit/>
          </a:bodyPr>
          <a:lstStyle/>
          <a:p>
            <a:r>
              <a:rPr lang="nl-NL" sz="1400" u="sng" dirty="0">
                <a:hlinkClick r:id="rId2">
                  <a:extLst>
                    <a:ext uri="{A12FA001-AC4F-418D-AE19-62706E023703}">
                      <ahyp:hlinkClr xmlns:ahyp="http://schemas.microsoft.com/office/drawing/2018/hyperlinkcolor" val="tx"/>
                    </a:ext>
                  </a:extLst>
                </a:hlinkClick>
              </a:rPr>
              <a:t>*</a:t>
            </a:r>
            <a:r>
              <a:rPr lang="nl-NL" sz="1400" u="sng" dirty="0">
                <a:solidFill>
                  <a:srgbClr val="0563C1"/>
                </a:solidFill>
                <a:hlinkClick r:id="rId2">
                  <a:extLst>
                    <a:ext uri="{A12FA001-AC4F-418D-AE19-62706E023703}">
                      <ahyp:hlinkClr xmlns:ahyp="http://schemas.microsoft.com/office/drawing/2018/hyperlinkcolor" val="tx"/>
                    </a:ext>
                  </a:extLst>
                </a:hlinkClick>
              </a:rPr>
              <a:t>OPE25.pdf</a:t>
            </a:r>
            <a:endParaRPr lang="en-NL" sz="1400" u="sng" dirty="0"/>
          </a:p>
        </p:txBody>
      </p:sp>
      <p:graphicFrame>
        <p:nvGraphicFramePr>
          <p:cNvPr id="10" name="Table 9">
            <a:extLst>
              <a:ext uri="{FF2B5EF4-FFF2-40B4-BE49-F238E27FC236}">
                <a16:creationId xmlns:a16="http://schemas.microsoft.com/office/drawing/2014/main" id="{7BFD4002-9D15-623A-BD6D-22CC0DDB8901}"/>
              </a:ext>
            </a:extLst>
          </p:cNvPr>
          <p:cNvGraphicFramePr>
            <a:graphicFrameLocks noGrp="1"/>
          </p:cNvGraphicFramePr>
          <p:nvPr>
            <p:extLst>
              <p:ext uri="{D42A27DB-BD31-4B8C-83A1-F6EECF244321}">
                <p14:modId xmlns:p14="http://schemas.microsoft.com/office/powerpoint/2010/main" val="2473053442"/>
              </p:ext>
            </p:extLst>
          </p:nvPr>
        </p:nvGraphicFramePr>
        <p:xfrm>
          <a:off x="381958" y="904400"/>
          <a:ext cx="9459625" cy="5451948"/>
        </p:xfrm>
        <a:graphic>
          <a:graphicData uri="http://schemas.openxmlformats.org/drawingml/2006/table">
            <a:tbl>
              <a:tblPr>
                <a:tableStyleId>{5940675A-B579-460E-94D1-54222C63F5DA}</a:tableStyleId>
              </a:tblPr>
              <a:tblGrid>
                <a:gridCol w="2166291">
                  <a:extLst>
                    <a:ext uri="{9D8B030D-6E8A-4147-A177-3AD203B41FA5}">
                      <a16:colId xmlns:a16="http://schemas.microsoft.com/office/drawing/2014/main" val="2879660862"/>
                    </a:ext>
                  </a:extLst>
                </a:gridCol>
                <a:gridCol w="2437337">
                  <a:extLst>
                    <a:ext uri="{9D8B030D-6E8A-4147-A177-3AD203B41FA5}">
                      <a16:colId xmlns:a16="http://schemas.microsoft.com/office/drawing/2014/main" val="3812059784"/>
                    </a:ext>
                  </a:extLst>
                </a:gridCol>
                <a:gridCol w="4855997">
                  <a:extLst>
                    <a:ext uri="{9D8B030D-6E8A-4147-A177-3AD203B41FA5}">
                      <a16:colId xmlns:a16="http://schemas.microsoft.com/office/drawing/2014/main" val="2906693917"/>
                    </a:ext>
                  </a:extLst>
                </a:gridCol>
              </a:tblGrid>
              <a:tr h="246898">
                <a:tc>
                  <a:txBody>
                    <a:bodyPr/>
                    <a:lstStyle/>
                    <a:p>
                      <a:pPr algn="ctr" fontAlgn="b"/>
                      <a:r>
                        <a:rPr lang="nl-NL" sz="1400" b="1" dirty="0">
                          <a:effectLst/>
                        </a:rPr>
                        <a:t>Event-type</a:t>
                      </a:r>
                    </a:p>
                  </a:txBody>
                  <a:tcPr marL="72000" marR="21976" marT="10988" marB="10988" anchor="b"/>
                </a:tc>
                <a:tc>
                  <a:txBody>
                    <a:bodyPr/>
                    <a:lstStyle/>
                    <a:p>
                      <a:pPr algn="ctr" fontAlgn="b"/>
                      <a:r>
                        <a:rPr lang="nl-NL" sz="1400" b="1" dirty="0" err="1">
                          <a:effectLst/>
                        </a:rPr>
                        <a:t>Categories</a:t>
                      </a:r>
                      <a:endParaRPr lang="nl-NL" sz="1400" b="1" dirty="0">
                        <a:effectLst/>
                      </a:endParaRPr>
                    </a:p>
                  </a:txBody>
                  <a:tcPr marL="72000" marR="21976" marT="10988" marB="10988" anchor="b"/>
                </a:tc>
                <a:tc>
                  <a:txBody>
                    <a:bodyPr/>
                    <a:lstStyle/>
                    <a:p>
                      <a:pPr algn="ctr" fontAlgn="b"/>
                      <a:r>
                        <a:rPr lang="nl-NL" sz="1400" b="1" dirty="0" err="1">
                          <a:effectLst/>
                        </a:rPr>
                        <a:t>Example</a:t>
                      </a:r>
                      <a:r>
                        <a:rPr lang="nl-NL" sz="1400" b="1" dirty="0">
                          <a:effectLst/>
                        </a:rPr>
                        <a:t> (full list in </a:t>
                      </a:r>
                      <a:r>
                        <a:rPr lang="nl-NL" sz="1400" dirty="0"/>
                        <a:t>OPE25*</a:t>
                      </a:r>
                      <a:r>
                        <a:rPr lang="nl-NL" sz="1400" b="1" dirty="0">
                          <a:effectLst/>
                        </a:rPr>
                        <a:t>)</a:t>
                      </a:r>
                    </a:p>
                  </a:txBody>
                  <a:tcPr marL="72000" marR="21976" marT="10988" marB="10988" anchor="b"/>
                </a:tc>
                <a:extLst>
                  <a:ext uri="{0D108BD9-81ED-4DB2-BD59-A6C34878D82A}">
                    <a16:rowId xmlns:a16="http://schemas.microsoft.com/office/drawing/2014/main" val="1730646300"/>
                  </a:ext>
                </a:extLst>
              </a:tr>
              <a:tr h="470741">
                <a:tc rowSpan="2">
                  <a:txBody>
                    <a:bodyPr/>
                    <a:lstStyle/>
                    <a:p>
                      <a:pPr fontAlgn="base"/>
                      <a:r>
                        <a:rPr lang="nl-NL" sz="1400" dirty="0" err="1">
                          <a:effectLst/>
                        </a:rPr>
                        <a:t>Internal</a:t>
                      </a:r>
                      <a:r>
                        <a:rPr lang="nl-NL" sz="1400" dirty="0">
                          <a:effectLst/>
                        </a:rPr>
                        <a:t> </a:t>
                      </a:r>
                      <a:r>
                        <a:rPr lang="nl-NL" sz="1400" dirty="0" err="1">
                          <a:effectLst/>
                        </a:rPr>
                        <a:t>Fraud</a:t>
                      </a:r>
                      <a:endParaRPr lang="nl-NL" sz="1400" dirty="0">
                        <a:effectLst/>
                      </a:endParaRPr>
                    </a:p>
                  </a:txBody>
                  <a:tcPr marL="72000" marR="21976" marT="10988" marB="10988" anchor="ctr"/>
                </a:tc>
                <a:tc>
                  <a:txBody>
                    <a:bodyPr/>
                    <a:lstStyle/>
                    <a:p>
                      <a:pPr fontAlgn="base"/>
                      <a:r>
                        <a:rPr lang="nl-NL" sz="1400" dirty="0" err="1">
                          <a:effectLst/>
                        </a:rPr>
                        <a:t>Unauthorized</a:t>
                      </a:r>
                      <a:r>
                        <a:rPr lang="nl-NL" sz="1400" dirty="0">
                          <a:effectLst/>
                        </a:rPr>
                        <a:t> </a:t>
                      </a:r>
                      <a:r>
                        <a:rPr lang="nl-NL" sz="1400" dirty="0" err="1">
                          <a:effectLst/>
                        </a:rPr>
                        <a:t>activity</a:t>
                      </a:r>
                      <a:endParaRPr lang="nl-NL" sz="1400" dirty="0">
                        <a:effectLst/>
                      </a:endParaRPr>
                    </a:p>
                  </a:txBody>
                  <a:tcPr marL="72000" marR="21976" marT="10988" marB="10988" anchor="ctr"/>
                </a:tc>
                <a:tc>
                  <a:txBody>
                    <a:bodyPr/>
                    <a:lstStyle/>
                    <a:p>
                      <a:pPr marL="171450" indent="-171450" fontAlgn="base">
                        <a:buFont typeface="Arial" panose="020B0604020202020204" pitchFamily="34" charset="0"/>
                        <a:buChar char="•"/>
                      </a:pPr>
                      <a:r>
                        <a:rPr lang="nl-NL" sz="1400" b="0" dirty="0">
                          <a:effectLst/>
                        </a:rPr>
                        <a:t>Transactions </a:t>
                      </a:r>
                      <a:r>
                        <a:rPr lang="nl-NL" sz="1400" b="0" dirty="0" err="1">
                          <a:effectLst/>
                        </a:rPr>
                        <a:t>not</a:t>
                      </a:r>
                      <a:r>
                        <a:rPr lang="nl-NL" sz="1400" b="0" dirty="0">
                          <a:effectLst/>
                        </a:rPr>
                        <a:t> </a:t>
                      </a:r>
                      <a:r>
                        <a:rPr lang="nl-NL" sz="1400" b="0" dirty="0" err="1">
                          <a:effectLst/>
                        </a:rPr>
                        <a:t>reported</a:t>
                      </a:r>
                      <a:r>
                        <a:rPr lang="nl-NL" sz="1400" b="0" dirty="0">
                          <a:effectLst/>
                        </a:rPr>
                        <a:t> (</a:t>
                      </a:r>
                      <a:r>
                        <a:rPr lang="nl-NL" sz="1400" b="0" dirty="0" err="1">
                          <a:effectLst/>
                        </a:rPr>
                        <a:t>intentional</a:t>
                      </a:r>
                      <a:r>
                        <a:rPr lang="nl-NL" sz="1400" b="0" dirty="0">
                          <a:effectLst/>
                        </a:rPr>
                        <a:t>)</a:t>
                      </a:r>
                    </a:p>
                    <a:p>
                      <a:pPr marL="171450" indent="-171450" fontAlgn="base">
                        <a:buFont typeface="Arial" panose="020B0604020202020204" pitchFamily="34" charset="0"/>
                        <a:buChar char="•"/>
                      </a:pPr>
                      <a:r>
                        <a:rPr lang="nl-NL" sz="1400" b="0" dirty="0">
                          <a:effectLst/>
                        </a:rPr>
                        <a:t>Transaction type </a:t>
                      </a:r>
                      <a:r>
                        <a:rPr lang="nl-NL" sz="1400" b="0" dirty="0" err="1">
                          <a:effectLst/>
                        </a:rPr>
                        <a:t>unauthorized</a:t>
                      </a:r>
                      <a:r>
                        <a:rPr lang="nl-NL" sz="1400" b="0" dirty="0">
                          <a:effectLst/>
                        </a:rPr>
                        <a:t> (</a:t>
                      </a:r>
                      <a:r>
                        <a:rPr lang="nl-NL" sz="1400" b="0" dirty="0" err="1">
                          <a:effectLst/>
                        </a:rPr>
                        <a:t>with</a:t>
                      </a:r>
                      <a:r>
                        <a:rPr lang="nl-NL" sz="1400" b="0" dirty="0">
                          <a:effectLst/>
                        </a:rPr>
                        <a:t> </a:t>
                      </a:r>
                      <a:r>
                        <a:rPr lang="nl-NL" sz="1400" b="0" dirty="0" err="1">
                          <a:effectLst/>
                        </a:rPr>
                        <a:t>monetary</a:t>
                      </a:r>
                      <a:r>
                        <a:rPr lang="nl-NL" sz="1400" b="0" dirty="0">
                          <a:effectLst/>
                        </a:rPr>
                        <a:t> </a:t>
                      </a:r>
                      <a:r>
                        <a:rPr lang="nl-NL" sz="1400" b="0" dirty="0" err="1">
                          <a:effectLst/>
                        </a:rPr>
                        <a:t>loss</a:t>
                      </a:r>
                      <a:r>
                        <a:rPr lang="nl-NL" sz="1400" b="0" dirty="0">
                          <a:effectLst/>
                        </a:rPr>
                        <a:t>)</a:t>
                      </a:r>
                    </a:p>
                  </a:txBody>
                  <a:tcPr marL="72000" marR="21976" marT="10988" marB="10988" anchor="ctr"/>
                </a:tc>
                <a:extLst>
                  <a:ext uri="{0D108BD9-81ED-4DB2-BD59-A6C34878D82A}">
                    <a16:rowId xmlns:a16="http://schemas.microsoft.com/office/drawing/2014/main" val="3993908322"/>
                  </a:ext>
                </a:extLst>
              </a:tr>
              <a:tr h="474585">
                <a:tc vMerge="1">
                  <a:txBody>
                    <a:bodyPr/>
                    <a:lstStyle/>
                    <a:p>
                      <a:pPr fontAlgn="base"/>
                      <a:endParaRPr lang="nl-NL" sz="1400" dirty="0">
                        <a:effectLst/>
                      </a:endParaRPr>
                    </a:p>
                  </a:txBody>
                  <a:tcPr marL="21976" marR="21976" marT="10988" marB="10988" anchor="ctr">
                    <a:lnL w="7620" cap="flat" cmpd="sng" algn="ctr">
                      <a:solidFill>
                        <a:srgbClr val="D9D9E3"/>
                      </a:solidFill>
                      <a:prstDash val="solid"/>
                      <a:round/>
                      <a:headEnd type="none" w="med" len="med"/>
                      <a:tailEnd type="none" w="med" len="med"/>
                    </a:lnL>
                    <a:lnR w="7620"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rgbClr val="F7F7F8"/>
                    </a:solid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nl-NL" sz="1400" dirty="0" err="1">
                          <a:effectLst/>
                        </a:rPr>
                        <a:t>Theft</a:t>
                      </a:r>
                      <a:r>
                        <a:rPr lang="nl-NL" sz="1400" dirty="0">
                          <a:effectLst/>
                        </a:rPr>
                        <a:t> </a:t>
                      </a:r>
                      <a:r>
                        <a:rPr lang="nl-NL" sz="1400" dirty="0" err="1">
                          <a:effectLst/>
                        </a:rPr>
                        <a:t>and</a:t>
                      </a:r>
                      <a:r>
                        <a:rPr lang="nl-NL" sz="1400" dirty="0">
                          <a:effectLst/>
                        </a:rPr>
                        <a:t> </a:t>
                      </a:r>
                      <a:r>
                        <a:rPr lang="nl-NL" sz="1400" dirty="0" err="1">
                          <a:effectLst/>
                        </a:rPr>
                        <a:t>fraud</a:t>
                      </a:r>
                      <a:endParaRPr lang="nl-NL" sz="1400" dirty="0">
                        <a:effectLst/>
                      </a:endParaRPr>
                    </a:p>
                  </a:txBody>
                  <a:tcPr marL="72000" marR="21976" marT="10988" marB="10988" anchor="ctr"/>
                </a:tc>
                <a:tc>
                  <a:txBody>
                    <a:bodyPr/>
                    <a:lstStyle/>
                    <a:p>
                      <a:pPr marL="171450" indent="-171450" fontAlgn="base">
                        <a:buFont typeface="Arial" panose="020B0604020202020204" pitchFamily="34" charset="0"/>
                        <a:buChar char="•"/>
                      </a:pPr>
                      <a:r>
                        <a:rPr lang="nl-NL" sz="1400" b="0" dirty="0" err="1">
                          <a:effectLst/>
                        </a:rPr>
                        <a:t>Fraud</a:t>
                      </a:r>
                      <a:r>
                        <a:rPr lang="nl-NL" sz="1400" b="0" dirty="0">
                          <a:effectLst/>
                        </a:rPr>
                        <a:t> / credit </a:t>
                      </a:r>
                      <a:r>
                        <a:rPr lang="nl-NL" sz="1400" b="0" dirty="0" err="1">
                          <a:effectLst/>
                        </a:rPr>
                        <a:t>fraud</a:t>
                      </a:r>
                      <a:r>
                        <a:rPr lang="nl-NL" sz="1400" b="0" dirty="0">
                          <a:effectLst/>
                        </a:rPr>
                        <a:t> / </a:t>
                      </a:r>
                      <a:r>
                        <a:rPr lang="nl-NL" sz="1400" b="0" dirty="0" err="1">
                          <a:effectLst/>
                        </a:rPr>
                        <a:t>worthless</a:t>
                      </a:r>
                      <a:r>
                        <a:rPr lang="nl-NL" sz="1400" b="0" dirty="0">
                          <a:effectLst/>
                        </a:rPr>
                        <a:t> </a:t>
                      </a:r>
                      <a:r>
                        <a:rPr lang="nl-NL" sz="1400" b="0" dirty="0" err="1">
                          <a:effectLst/>
                        </a:rPr>
                        <a:t>deposits</a:t>
                      </a:r>
                      <a:endParaRPr lang="nl-NL" sz="1400" b="0" dirty="0">
                        <a:effectLst/>
                      </a:endParaRPr>
                    </a:p>
                    <a:p>
                      <a:pPr marL="171450" indent="-171450" fontAlgn="base">
                        <a:buFont typeface="Arial" panose="020B0604020202020204" pitchFamily="34" charset="0"/>
                        <a:buChar char="•"/>
                      </a:pPr>
                      <a:r>
                        <a:rPr lang="nl-NL" sz="1400" b="0" dirty="0" err="1">
                          <a:effectLst/>
                        </a:rPr>
                        <a:t>Theft</a:t>
                      </a:r>
                      <a:r>
                        <a:rPr lang="nl-NL" sz="1400" b="0" dirty="0">
                          <a:effectLst/>
                        </a:rPr>
                        <a:t> / </a:t>
                      </a:r>
                      <a:r>
                        <a:rPr lang="nl-NL" sz="1400" b="0" dirty="0" err="1">
                          <a:effectLst/>
                        </a:rPr>
                        <a:t>extortion</a:t>
                      </a:r>
                      <a:r>
                        <a:rPr lang="nl-NL" sz="1400" b="0" dirty="0">
                          <a:effectLst/>
                        </a:rPr>
                        <a:t> / </a:t>
                      </a:r>
                      <a:r>
                        <a:rPr lang="nl-NL" sz="1400" b="0" dirty="0" err="1">
                          <a:effectLst/>
                        </a:rPr>
                        <a:t>embezzlement</a:t>
                      </a:r>
                      <a:r>
                        <a:rPr lang="nl-NL" sz="1400" b="0" dirty="0">
                          <a:effectLst/>
                        </a:rPr>
                        <a:t> / </a:t>
                      </a:r>
                      <a:r>
                        <a:rPr lang="nl-NL" sz="1400" b="0" dirty="0" err="1">
                          <a:effectLst/>
                        </a:rPr>
                        <a:t>robbery</a:t>
                      </a:r>
                      <a:r>
                        <a:rPr lang="nl-NL" sz="1400" b="0" dirty="0">
                          <a:effectLst/>
                        </a:rPr>
                        <a:t>      </a:t>
                      </a:r>
                    </a:p>
                  </a:txBody>
                  <a:tcPr marL="72000" marR="21976" marT="10988" marB="10988" anchor="ctr"/>
                </a:tc>
                <a:extLst>
                  <a:ext uri="{0D108BD9-81ED-4DB2-BD59-A6C34878D82A}">
                    <a16:rowId xmlns:a16="http://schemas.microsoft.com/office/drawing/2014/main" val="1673883115"/>
                  </a:ext>
                </a:extLst>
              </a:tr>
              <a:tr h="470741">
                <a:tc rowSpan="2">
                  <a:txBody>
                    <a:bodyPr/>
                    <a:lstStyle/>
                    <a:p>
                      <a:pPr fontAlgn="base"/>
                      <a:r>
                        <a:rPr lang="nl-NL" sz="1400" dirty="0" err="1">
                          <a:effectLst/>
                        </a:rPr>
                        <a:t>External</a:t>
                      </a:r>
                      <a:r>
                        <a:rPr lang="nl-NL" sz="1400" dirty="0">
                          <a:effectLst/>
                        </a:rPr>
                        <a:t> </a:t>
                      </a:r>
                      <a:r>
                        <a:rPr lang="nl-NL" sz="1400" dirty="0" err="1">
                          <a:effectLst/>
                        </a:rPr>
                        <a:t>Fraud</a:t>
                      </a:r>
                      <a:endParaRPr lang="nl-NL" sz="1400" dirty="0">
                        <a:effectLst/>
                      </a:endParaRPr>
                    </a:p>
                  </a:txBody>
                  <a:tcPr marL="72000" marR="21976" marT="10988" marB="10988" anchor="ctr"/>
                </a:tc>
                <a:tc>
                  <a:txBody>
                    <a:bodyPr/>
                    <a:lstStyle/>
                    <a:p>
                      <a:pPr fontAlgn="base"/>
                      <a:r>
                        <a:rPr lang="en-US" sz="1400" dirty="0">
                          <a:effectLst/>
                        </a:rPr>
                        <a:t>Theft and fraud</a:t>
                      </a:r>
                    </a:p>
                  </a:txBody>
                  <a:tcPr marL="72000" marR="21976" marT="10988" marB="10988" anchor="ctr"/>
                </a:tc>
                <a:tc>
                  <a:txBody>
                    <a:bodyPr/>
                    <a:lstStyle/>
                    <a:p>
                      <a:pPr marL="171450" indent="-171450" fontAlgn="base">
                        <a:buFont typeface="Arial" panose="020B0604020202020204" pitchFamily="34" charset="0"/>
                        <a:buChar char="•"/>
                      </a:pPr>
                      <a:r>
                        <a:rPr lang="en-US" sz="1400" b="0" dirty="0">
                          <a:effectLst/>
                        </a:rPr>
                        <a:t>Theft / robbery</a:t>
                      </a:r>
                    </a:p>
                    <a:p>
                      <a:pPr marL="171450" indent="-171450" fontAlgn="base">
                        <a:buFont typeface="Arial" panose="020B0604020202020204" pitchFamily="34" charset="0"/>
                        <a:buChar char="•"/>
                      </a:pPr>
                      <a:r>
                        <a:rPr lang="en-US" sz="1400" b="0" dirty="0">
                          <a:effectLst/>
                        </a:rPr>
                        <a:t>Forgery</a:t>
                      </a:r>
                    </a:p>
                  </a:txBody>
                  <a:tcPr marL="72000" marR="21976" marT="10988" marB="10988" anchor="ctr"/>
                </a:tc>
                <a:extLst>
                  <a:ext uri="{0D108BD9-81ED-4DB2-BD59-A6C34878D82A}">
                    <a16:rowId xmlns:a16="http://schemas.microsoft.com/office/drawing/2014/main" val="202987824"/>
                  </a:ext>
                </a:extLst>
              </a:tr>
              <a:tr h="470741">
                <a:tc vMerge="1">
                  <a:txBody>
                    <a:bodyPr/>
                    <a:lstStyle/>
                    <a:p>
                      <a:pPr fontAlgn="base"/>
                      <a:endParaRPr lang="nl-NL" sz="1400">
                        <a:effectLst/>
                      </a:endParaRPr>
                    </a:p>
                  </a:txBody>
                  <a:tcPr marL="21976" marR="21976" marT="10988" marB="10988" anchor="ctr">
                    <a:lnL w="7620" cap="flat" cmpd="sng" algn="ctr">
                      <a:solidFill>
                        <a:srgbClr val="D9D9E3"/>
                      </a:solidFill>
                      <a:prstDash val="solid"/>
                      <a:round/>
                      <a:headEnd type="none" w="med" len="med"/>
                      <a:tailEnd type="none" w="med" len="med"/>
                    </a:lnL>
                    <a:lnR w="7620"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rgbClr val="F7F7F8"/>
                    </a:solid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400" dirty="0">
                          <a:effectLst/>
                        </a:rPr>
                        <a:t>Systems security</a:t>
                      </a:r>
                    </a:p>
                  </a:txBody>
                  <a:tcPr marL="72000" marR="21976" marT="10988" marB="10988" anchor="ctr"/>
                </a:tc>
                <a:tc>
                  <a:txBody>
                    <a:bodyPr/>
                    <a:lstStyle/>
                    <a:p>
                      <a:pPr marL="171450" indent="-171450" fontAlgn="base">
                        <a:buFont typeface="Arial" panose="020B0604020202020204" pitchFamily="34" charset="0"/>
                        <a:buChar char="•"/>
                      </a:pPr>
                      <a:r>
                        <a:rPr lang="en-US" sz="1400" b="0" dirty="0">
                          <a:effectLst/>
                        </a:rPr>
                        <a:t>Hacking damage</a:t>
                      </a:r>
                    </a:p>
                    <a:p>
                      <a:pPr marL="171450" indent="-171450" fontAlgn="base">
                        <a:buFont typeface="Arial" panose="020B0604020202020204" pitchFamily="34" charset="0"/>
                        <a:buChar char="•"/>
                      </a:pPr>
                      <a:r>
                        <a:rPr lang="en-US" sz="1400" b="0" dirty="0">
                          <a:effectLst/>
                        </a:rPr>
                        <a:t>Theft of information (with monetary loss)</a:t>
                      </a:r>
                    </a:p>
                  </a:txBody>
                  <a:tcPr marL="72000" marR="21976" marT="10988" marB="10988" anchor="ctr"/>
                </a:tc>
                <a:extLst>
                  <a:ext uri="{0D108BD9-81ED-4DB2-BD59-A6C34878D82A}">
                    <a16:rowId xmlns:a16="http://schemas.microsoft.com/office/drawing/2014/main" val="1085741722"/>
                  </a:ext>
                </a:extLst>
              </a:tr>
              <a:tr h="470741">
                <a:tc rowSpan="3">
                  <a:txBody>
                    <a:bodyPr/>
                    <a:lstStyle/>
                    <a:p>
                      <a:pPr fontAlgn="base"/>
                      <a:r>
                        <a:rPr lang="en-US" sz="1400" dirty="0"/>
                        <a:t>Employment practices and workplace safety </a:t>
                      </a:r>
                      <a:endParaRPr lang="nl-NL" sz="1400" dirty="0">
                        <a:effectLst/>
                      </a:endParaRPr>
                    </a:p>
                  </a:txBody>
                  <a:tcPr marL="72000" marR="21976" marT="10988" marB="10988" anchor="ctr"/>
                </a:tc>
                <a:tc>
                  <a:txBody>
                    <a:bodyPr/>
                    <a:lstStyle/>
                    <a:p>
                      <a:pPr fontAlgn="base"/>
                      <a:r>
                        <a:rPr lang="nl-NL" sz="1400" dirty="0"/>
                        <a:t>Employee relations </a:t>
                      </a:r>
                      <a:endParaRPr lang="en-US" sz="1400" dirty="0">
                        <a:effectLst/>
                      </a:endParaRPr>
                    </a:p>
                  </a:txBody>
                  <a:tcPr marL="72000" marR="21976" marT="10988" marB="10988" anchor="ctr"/>
                </a:tc>
                <a:tc>
                  <a:txBody>
                    <a:bodyPr/>
                    <a:lstStyle/>
                    <a:p>
                      <a:pPr marL="171450" indent="-171450" fontAlgn="base">
                        <a:buFont typeface="Arial" panose="020B0604020202020204" pitchFamily="34" charset="0"/>
                        <a:buChar char="•"/>
                      </a:pPr>
                      <a:r>
                        <a:rPr lang="en-US" sz="1400" b="0" dirty="0"/>
                        <a:t>Compensation, benefit, termination issues </a:t>
                      </a:r>
                    </a:p>
                    <a:p>
                      <a:pPr marL="171450" indent="-171450" fontAlgn="base">
                        <a:buFont typeface="Arial" panose="020B0604020202020204" pitchFamily="34" charset="0"/>
                        <a:buChar char="•"/>
                      </a:pPr>
                      <a:r>
                        <a:rPr lang="en-US" sz="1400" b="0" dirty="0" err="1"/>
                        <a:t>Organised</a:t>
                      </a:r>
                      <a:r>
                        <a:rPr lang="en-US" sz="1400" b="0" dirty="0"/>
                        <a:t> </a:t>
                      </a:r>
                      <a:r>
                        <a:rPr lang="en-US" sz="1400" b="0" dirty="0" err="1"/>
                        <a:t>labour</a:t>
                      </a:r>
                      <a:r>
                        <a:rPr lang="en-US" sz="1400" b="0" dirty="0"/>
                        <a:t> activity</a:t>
                      </a:r>
                      <a:endParaRPr lang="en-US" sz="1400" b="0" dirty="0">
                        <a:effectLst/>
                      </a:endParaRPr>
                    </a:p>
                  </a:txBody>
                  <a:tcPr marL="72000" marR="21976" marT="10988" marB="10988" anchor="ctr"/>
                </a:tc>
                <a:extLst>
                  <a:ext uri="{0D108BD9-81ED-4DB2-BD59-A6C34878D82A}">
                    <a16:rowId xmlns:a16="http://schemas.microsoft.com/office/drawing/2014/main" val="1420863305"/>
                  </a:ext>
                </a:extLst>
              </a:tr>
              <a:tr h="470741">
                <a:tc vMerge="1">
                  <a:txBody>
                    <a:bodyPr/>
                    <a:lstStyle/>
                    <a:p>
                      <a:pPr fontAlgn="base"/>
                      <a:endParaRPr lang="nl-NL" sz="1400" dirty="0">
                        <a:effectLst/>
                      </a:endParaRPr>
                    </a:p>
                  </a:txBody>
                  <a:tcPr marL="21976" marR="21976" marT="10988" marB="10988" anchor="ctr">
                    <a:lnL w="7620" cap="flat" cmpd="sng" algn="ctr">
                      <a:solidFill>
                        <a:srgbClr val="D9D9E3"/>
                      </a:solidFill>
                      <a:prstDash val="solid"/>
                      <a:round/>
                      <a:headEnd type="none" w="med" len="med"/>
                      <a:tailEnd type="none" w="med" len="med"/>
                    </a:lnL>
                    <a:lnR w="7620"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rgbClr val="F7F7F8"/>
                    </a:solidFill>
                  </a:tcPr>
                </a:tc>
                <a:tc>
                  <a:txBody>
                    <a:bodyPr/>
                    <a:lstStyle/>
                    <a:p>
                      <a:pPr fontAlgn="base"/>
                      <a:r>
                        <a:rPr lang="nl-NL" sz="1400" dirty="0"/>
                        <a:t>Safe environment</a:t>
                      </a:r>
                      <a:endParaRPr lang="en-US" sz="1400" dirty="0">
                        <a:effectLst/>
                      </a:endParaRPr>
                    </a:p>
                  </a:txBody>
                  <a:tcPr marL="72000" marR="21976" marT="10988" marB="10988" anchor="ctr"/>
                </a:tc>
                <a:tc>
                  <a:txBody>
                    <a:bodyPr/>
                    <a:lstStyle/>
                    <a:p>
                      <a:pPr marL="171450" indent="-171450" fontAlgn="base">
                        <a:buFont typeface="Arial" panose="020B0604020202020204" pitchFamily="34" charset="0"/>
                        <a:buChar char="•"/>
                      </a:pPr>
                      <a:r>
                        <a:rPr lang="en-US" sz="1400" b="0" dirty="0"/>
                        <a:t>Employee health and safety rules events </a:t>
                      </a:r>
                    </a:p>
                    <a:p>
                      <a:pPr marL="171450" indent="-171450" fontAlgn="base">
                        <a:buFont typeface="Arial" panose="020B0604020202020204" pitchFamily="34" charset="0"/>
                        <a:buChar char="•"/>
                      </a:pPr>
                      <a:r>
                        <a:rPr lang="en-US" sz="1400" b="0" dirty="0"/>
                        <a:t>Workers compensation </a:t>
                      </a:r>
                      <a:endParaRPr lang="en-US" sz="1400" b="0" dirty="0">
                        <a:effectLst/>
                      </a:endParaRPr>
                    </a:p>
                  </a:txBody>
                  <a:tcPr marL="72000" marR="21976" marT="10988" marB="10988" anchor="ctr"/>
                </a:tc>
                <a:extLst>
                  <a:ext uri="{0D108BD9-81ED-4DB2-BD59-A6C34878D82A}">
                    <a16:rowId xmlns:a16="http://schemas.microsoft.com/office/drawing/2014/main" val="1095369688"/>
                  </a:ext>
                </a:extLst>
              </a:tr>
              <a:tr h="246898">
                <a:tc vMerge="1">
                  <a:txBody>
                    <a:bodyPr/>
                    <a:lstStyle/>
                    <a:p>
                      <a:pPr fontAlgn="base"/>
                      <a:endParaRPr lang="nl-NL" sz="1400" dirty="0">
                        <a:effectLst/>
                      </a:endParaRPr>
                    </a:p>
                  </a:txBody>
                  <a:tcPr marL="21976" marR="21976" marT="10988" marB="10988" anchor="ctr">
                    <a:lnL w="7620" cap="flat" cmpd="sng" algn="ctr">
                      <a:solidFill>
                        <a:srgbClr val="D9D9E3"/>
                      </a:solidFill>
                      <a:prstDash val="solid"/>
                      <a:round/>
                      <a:headEnd type="none" w="med" len="med"/>
                      <a:tailEnd type="none" w="med" len="med"/>
                    </a:lnL>
                    <a:lnR w="7620"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rgbClr val="F7F7F8"/>
                    </a:solidFill>
                  </a:tcPr>
                </a:tc>
                <a:tc>
                  <a:txBody>
                    <a:bodyPr/>
                    <a:lstStyle/>
                    <a:p>
                      <a:pPr fontAlgn="base"/>
                      <a:r>
                        <a:rPr lang="nl-NL" sz="1400" dirty="0" err="1"/>
                        <a:t>Diversity</a:t>
                      </a:r>
                      <a:r>
                        <a:rPr lang="nl-NL" sz="1400" dirty="0"/>
                        <a:t> </a:t>
                      </a:r>
                      <a:r>
                        <a:rPr lang="nl-NL" sz="1400" dirty="0" err="1"/>
                        <a:t>and</a:t>
                      </a:r>
                      <a:r>
                        <a:rPr lang="nl-NL" sz="1400" dirty="0"/>
                        <a:t> </a:t>
                      </a:r>
                      <a:r>
                        <a:rPr lang="nl-NL" sz="1400" dirty="0" err="1"/>
                        <a:t>discrimination</a:t>
                      </a:r>
                      <a:endParaRPr lang="en-US" sz="1400" dirty="0">
                        <a:effectLst/>
                      </a:endParaRPr>
                    </a:p>
                  </a:txBody>
                  <a:tcPr marL="72000" marR="21976" marT="10988" marB="10988" anchor="ctr"/>
                </a:tc>
                <a:tc>
                  <a:txBody>
                    <a:bodyPr/>
                    <a:lstStyle/>
                    <a:p>
                      <a:pPr marL="171450" indent="-171450" fontAlgn="base">
                        <a:buFont typeface="Arial" panose="020B0604020202020204" pitchFamily="34" charset="0"/>
                        <a:buChar char="•"/>
                      </a:pPr>
                      <a:r>
                        <a:rPr lang="nl-NL" sz="1400" dirty="0" err="1"/>
                        <a:t>All</a:t>
                      </a:r>
                      <a:r>
                        <a:rPr lang="nl-NL" sz="1400" dirty="0"/>
                        <a:t> </a:t>
                      </a:r>
                      <a:r>
                        <a:rPr lang="nl-NL" sz="1400" dirty="0" err="1"/>
                        <a:t>discrimination</a:t>
                      </a:r>
                      <a:r>
                        <a:rPr lang="nl-NL" sz="1400" dirty="0"/>
                        <a:t> types</a:t>
                      </a:r>
                      <a:endParaRPr lang="en-US" sz="1400" dirty="0">
                        <a:effectLst/>
                      </a:endParaRPr>
                    </a:p>
                  </a:txBody>
                  <a:tcPr marL="72000" marR="21976" marT="10988" marB="10988" anchor="ctr"/>
                </a:tc>
                <a:extLst>
                  <a:ext uri="{0D108BD9-81ED-4DB2-BD59-A6C34878D82A}">
                    <a16:rowId xmlns:a16="http://schemas.microsoft.com/office/drawing/2014/main" val="1166819561"/>
                  </a:ext>
                </a:extLst>
              </a:tr>
              <a:tr h="470741">
                <a:tc rowSpan="3">
                  <a:txBody>
                    <a:bodyPr/>
                    <a:lstStyle/>
                    <a:p>
                      <a:pPr fontAlgn="base"/>
                      <a:r>
                        <a:rPr lang="en-US" sz="1400" dirty="0"/>
                        <a:t>Clients, products and business practices</a:t>
                      </a:r>
                      <a:endParaRPr lang="nl-NL" sz="1400" dirty="0">
                        <a:effectLst/>
                      </a:endParaRPr>
                    </a:p>
                  </a:txBody>
                  <a:tcPr marL="72000" marR="21976" marT="10988" marB="10988" anchor="ctr"/>
                </a:tc>
                <a:tc>
                  <a:txBody>
                    <a:bodyPr/>
                    <a:lstStyle/>
                    <a:p>
                      <a:pPr fontAlgn="base"/>
                      <a:r>
                        <a:rPr lang="nl-NL" sz="1400" dirty="0" err="1"/>
                        <a:t>Suitability</a:t>
                      </a:r>
                      <a:r>
                        <a:rPr lang="nl-NL" sz="1400" dirty="0"/>
                        <a:t>, </a:t>
                      </a:r>
                      <a:r>
                        <a:rPr lang="nl-NL" sz="1400" dirty="0" err="1"/>
                        <a:t>disclosure</a:t>
                      </a:r>
                      <a:r>
                        <a:rPr lang="nl-NL" sz="1400" dirty="0"/>
                        <a:t> </a:t>
                      </a:r>
                      <a:r>
                        <a:rPr lang="nl-NL" sz="1400" dirty="0" err="1"/>
                        <a:t>and</a:t>
                      </a:r>
                      <a:r>
                        <a:rPr lang="nl-NL" sz="1400" dirty="0"/>
                        <a:t> </a:t>
                      </a:r>
                      <a:r>
                        <a:rPr lang="nl-NL" sz="1400" dirty="0" err="1"/>
                        <a:t>fiduciary</a:t>
                      </a:r>
                      <a:endParaRPr lang="en-US" sz="1400" dirty="0">
                        <a:effectLst/>
                      </a:endParaRPr>
                    </a:p>
                  </a:txBody>
                  <a:tcPr marL="72000" marR="21976" marT="10988" marB="10988" anchor="ctr"/>
                </a:tc>
                <a:tc>
                  <a:txBody>
                    <a:bodyPr/>
                    <a:lstStyle/>
                    <a:p>
                      <a:pPr marL="171450" indent="-171450" fontAlgn="base">
                        <a:buFont typeface="Arial" panose="020B0604020202020204" pitchFamily="34" charset="0"/>
                        <a:buChar char="•"/>
                      </a:pPr>
                      <a:r>
                        <a:rPr lang="en-US" sz="1400" dirty="0"/>
                        <a:t>Breach of privacy </a:t>
                      </a:r>
                    </a:p>
                    <a:p>
                      <a:pPr marL="171450" indent="-171450" fontAlgn="base">
                        <a:buFont typeface="Arial" panose="020B0604020202020204" pitchFamily="34" charset="0"/>
                        <a:buChar char="•"/>
                      </a:pPr>
                      <a:r>
                        <a:rPr lang="en-US" sz="1400" dirty="0"/>
                        <a:t>Aggressive sales</a:t>
                      </a:r>
                      <a:endParaRPr lang="en-US" sz="1400" dirty="0">
                        <a:effectLst/>
                      </a:endParaRPr>
                    </a:p>
                  </a:txBody>
                  <a:tcPr marL="72000" marR="21976" marT="10988" marB="10988" anchor="ctr"/>
                </a:tc>
                <a:extLst>
                  <a:ext uri="{0D108BD9-81ED-4DB2-BD59-A6C34878D82A}">
                    <a16:rowId xmlns:a16="http://schemas.microsoft.com/office/drawing/2014/main" val="2873252317"/>
                  </a:ext>
                </a:extLst>
              </a:tr>
              <a:tr h="470741">
                <a:tc vMerge="1">
                  <a:txBody>
                    <a:bodyPr/>
                    <a:lstStyle/>
                    <a:p>
                      <a:pPr fontAlgn="base"/>
                      <a:endParaRPr lang="nl-NL" sz="1400" dirty="0">
                        <a:effectLst/>
                      </a:endParaRPr>
                    </a:p>
                  </a:txBody>
                  <a:tcPr marL="21976" marR="21976" marT="10988" marB="10988" anchor="ctr">
                    <a:lnL w="7620" cap="flat" cmpd="sng" algn="ctr">
                      <a:solidFill>
                        <a:srgbClr val="D9D9E3"/>
                      </a:solidFill>
                      <a:prstDash val="solid"/>
                      <a:round/>
                      <a:headEnd type="none" w="med" len="med"/>
                      <a:tailEnd type="none" w="med" len="med"/>
                    </a:lnL>
                    <a:lnR w="7620"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rgbClr val="F7F7F8"/>
                    </a:solidFill>
                  </a:tcPr>
                </a:tc>
                <a:tc>
                  <a:txBody>
                    <a:bodyPr/>
                    <a:lstStyle/>
                    <a:p>
                      <a:pPr fontAlgn="base"/>
                      <a:r>
                        <a:rPr lang="en-US" sz="1400" dirty="0"/>
                        <a:t>Improper business or market practices</a:t>
                      </a:r>
                      <a:endParaRPr lang="en-US" sz="1400" dirty="0">
                        <a:effectLst/>
                      </a:endParaRPr>
                    </a:p>
                  </a:txBody>
                  <a:tcPr marL="72000" marR="21976" marT="10988" marB="10988" anchor="ctr"/>
                </a:tc>
                <a:tc>
                  <a:txBody>
                    <a:bodyPr/>
                    <a:lstStyle/>
                    <a:p>
                      <a:pPr marL="171450" indent="-171450" fontAlgn="base">
                        <a:buFont typeface="Arial" panose="020B0604020202020204" pitchFamily="34" charset="0"/>
                        <a:buChar char="•"/>
                      </a:pPr>
                      <a:r>
                        <a:rPr lang="en-US" sz="1400" dirty="0"/>
                        <a:t>Market manipulation </a:t>
                      </a:r>
                    </a:p>
                    <a:p>
                      <a:pPr marL="171450" indent="-171450" fontAlgn="base">
                        <a:buFont typeface="Arial" panose="020B0604020202020204" pitchFamily="34" charset="0"/>
                        <a:buChar char="•"/>
                      </a:pPr>
                      <a:r>
                        <a:rPr lang="en-US" sz="1400" dirty="0"/>
                        <a:t>Insider trading (on firm's account)</a:t>
                      </a:r>
                      <a:endParaRPr lang="en-US" sz="1400" dirty="0">
                        <a:effectLst/>
                      </a:endParaRPr>
                    </a:p>
                  </a:txBody>
                  <a:tcPr marL="72000" marR="21976" marT="10988" marB="10988" anchor="ctr"/>
                </a:tc>
                <a:extLst>
                  <a:ext uri="{0D108BD9-81ED-4DB2-BD59-A6C34878D82A}">
                    <a16:rowId xmlns:a16="http://schemas.microsoft.com/office/drawing/2014/main" val="2940741934"/>
                  </a:ext>
                </a:extLst>
              </a:tr>
              <a:tr h="246898">
                <a:tc vMerge="1">
                  <a:txBody>
                    <a:bodyPr/>
                    <a:lstStyle/>
                    <a:p>
                      <a:pPr fontAlgn="base"/>
                      <a:endParaRPr lang="nl-NL" sz="1400" dirty="0">
                        <a:effectLst/>
                      </a:endParaRPr>
                    </a:p>
                  </a:txBody>
                  <a:tcPr marL="21976" marR="21976" marT="10988" marB="10988" anchor="ctr">
                    <a:lnL w="7620" cap="flat" cmpd="sng" algn="ctr">
                      <a:solidFill>
                        <a:srgbClr val="D9D9E3"/>
                      </a:solidFill>
                      <a:prstDash val="solid"/>
                      <a:round/>
                      <a:headEnd type="none" w="med" len="med"/>
                      <a:tailEnd type="none" w="med" len="med"/>
                    </a:lnL>
                    <a:lnR w="7620" cap="flat" cmpd="sng" algn="ctr">
                      <a:solidFill>
                        <a:srgbClr val="D9D9E3"/>
                      </a:solidFill>
                      <a:prstDash val="solid"/>
                      <a:round/>
                      <a:headEnd type="none" w="med" len="med"/>
                      <a:tailEnd type="none" w="med" len="med"/>
                    </a:lnR>
                    <a:lnT w="12700" cap="flat" cmpd="sng" algn="ctr">
                      <a:solidFill>
                        <a:srgbClr val="D9D9E3"/>
                      </a:solidFill>
                      <a:prstDash val="solid"/>
                      <a:round/>
                      <a:headEnd type="none" w="med" len="med"/>
                      <a:tailEnd type="none" w="med" len="med"/>
                    </a:lnT>
                    <a:lnB w="12700" cap="flat" cmpd="sng" algn="ctr">
                      <a:solidFill>
                        <a:srgbClr val="D9D9E3"/>
                      </a:solidFill>
                      <a:prstDash val="solid"/>
                      <a:round/>
                      <a:headEnd type="none" w="med" len="med"/>
                      <a:tailEnd type="none" w="med" len="med"/>
                    </a:lnB>
                    <a:solidFill>
                      <a:srgbClr val="F7F7F8"/>
                    </a:solidFill>
                  </a:tcPr>
                </a:tc>
                <a:tc>
                  <a:txBody>
                    <a:bodyPr/>
                    <a:lstStyle/>
                    <a:p>
                      <a:pPr fontAlgn="base"/>
                      <a:r>
                        <a:rPr lang="nl-NL" sz="1400" dirty="0"/>
                        <a:t>Product </a:t>
                      </a:r>
                      <a:r>
                        <a:rPr lang="nl-NL" sz="1400" dirty="0" err="1"/>
                        <a:t>flaws</a:t>
                      </a:r>
                      <a:endParaRPr lang="en-US" sz="1400" dirty="0">
                        <a:effectLst/>
                      </a:endParaRPr>
                    </a:p>
                  </a:txBody>
                  <a:tcPr marL="72000" marR="21976" marT="10988" marB="10988" anchor="ctr"/>
                </a:tc>
                <a:tc>
                  <a:txBody>
                    <a:bodyPr/>
                    <a:lstStyle/>
                    <a:p>
                      <a:pPr marL="171450" indent="-171450" fontAlgn="base">
                        <a:buFont typeface="Arial" panose="020B0604020202020204" pitchFamily="34" charset="0"/>
                        <a:buChar char="•"/>
                      </a:pPr>
                      <a:r>
                        <a:rPr lang="nl-NL" sz="1400" dirty="0"/>
                        <a:t>Product defects (</a:t>
                      </a:r>
                      <a:r>
                        <a:rPr lang="nl-NL" sz="1400" dirty="0" err="1"/>
                        <a:t>unauthorised</a:t>
                      </a:r>
                      <a:r>
                        <a:rPr lang="nl-NL" sz="1400" dirty="0"/>
                        <a:t> </a:t>
                      </a:r>
                      <a:r>
                        <a:rPr lang="nl-NL" sz="1400" dirty="0" err="1"/>
                        <a:t>etc</a:t>
                      </a:r>
                      <a:r>
                        <a:rPr lang="nl-NL" sz="1400" dirty="0"/>
                        <a:t>)</a:t>
                      </a:r>
                      <a:endParaRPr lang="en-US" sz="1400" dirty="0">
                        <a:effectLst/>
                      </a:endParaRPr>
                    </a:p>
                  </a:txBody>
                  <a:tcPr marL="72000" marR="21976" marT="10988" marB="10988" anchor="ctr"/>
                </a:tc>
                <a:extLst>
                  <a:ext uri="{0D108BD9-81ED-4DB2-BD59-A6C34878D82A}">
                    <a16:rowId xmlns:a16="http://schemas.microsoft.com/office/drawing/2014/main" val="979305232"/>
                  </a:ext>
                </a:extLst>
              </a:tr>
              <a:tr h="470741">
                <a:tc>
                  <a:txBody>
                    <a:bodyPr/>
                    <a:lstStyle/>
                    <a:p>
                      <a:pPr fontAlgn="base"/>
                      <a:r>
                        <a:rPr lang="nl-NL" sz="1400" dirty="0" err="1"/>
                        <a:t>Damage</a:t>
                      </a:r>
                      <a:r>
                        <a:rPr lang="nl-NL" sz="1400" dirty="0"/>
                        <a:t> </a:t>
                      </a:r>
                      <a:r>
                        <a:rPr lang="nl-NL" sz="1400" dirty="0" err="1"/>
                        <a:t>to</a:t>
                      </a:r>
                      <a:r>
                        <a:rPr lang="nl-NL" sz="1400" dirty="0"/>
                        <a:t> </a:t>
                      </a:r>
                      <a:r>
                        <a:rPr lang="nl-NL" sz="1400" dirty="0" err="1"/>
                        <a:t>physical</a:t>
                      </a:r>
                      <a:r>
                        <a:rPr lang="nl-NL" sz="1400" dirty="0"/>
                        <a:t> assets</a:t>
                      </a:r>
                      <a:endParaRPr lang="nl-NL" sz="1400" dirty="0">
                        <a:effectLst/>
                      </a:endParaRPr>
                    </a:p>
                  </a:txBody>
                  <a:tcPr marL="72000" marR="21976" marT="10988" marB="10988" anchor="ctr"/>
                </a:tc>
                <a:tc>
                  <a:txBody>
                    <a:bodyPr/>
                    <a:lstStyle/>
                    <a:p>
                      <a:pPr fontAlgn="base"/>
                      <a:r>
                        <a:rPr lang="nl-NL" sz="1400" dirty="0"/>
                        <a:t>Disasters </a:t>
                      </a:r>
                      <a:r>
                        <a:rPr lang="nl-NL" sz="1400" dirty="0" err="1"/>
                        <a:t>and</a:t>
                      </a:r>
                      <a:r>
                        <a:rPr lang="nl-NL" sz="1400" dirty="0"/>
                        <a:t> </a:t>
                      </a:r>
                      <a:r>
                        <a:rPr lang="nl-NL" sz="1400" dirty="0" err="1"/>
                        <a:t>other</a:t>
                      </a:r>
                      <a:r>
                        <a:rPr lang="nl-NL" sz="1400" dirty="0"/>
                        <a:t> events </a:t>
                      </a:r>
                      <a:endParaRPr lang="en-US" sz="1400" dirty="0">
                        <a:effectLst/>
                      </a:endParaRPr>
                    </a:p>
                  </a:txBody>
                  <a:tcPr marL="72000" marR="21976" marT="10988" marB="10988" anchor="ctr"/>
                </a:tc>
                <a:tc>
                  <a:txBody>
                    <a:bodyPr/>
                    <a:lstStyle/>
                    <a:p>
                      <a:pPr marL="171450" indent="-171450" fontAlgn="base">
                        <a:buFont typeface="Arial" panose="020B0604020202020204" pitchFamily="34" charset="0"/>
                        <a:buChar char="•"/>
                      </a:pPr>
                      <a:r>
                        <a:rPr lang="nl-NL" sz="1400" dirty="0"/>
                        <a:t>Natural disaster </a:t>
                      </a:r>
                      <a:r>
                        <a:rPr lang="nl-NL" sz="1400" dirty="0" err="1"/>
                        <a:t>losses</a:t>
                      </a:r>
                      <a:r>
                        <a:rPr lang="nl-NL" sz="1400" dirty="0"/>
                        <a:t> </a:t>
                      </a:r>
                    </a:p>
                    <a:p>
                      <a:pPr marL="171450" indent="-171450" fontAlgn="base">
                        <a:buFont typeface="Arial" panose="020B0604020202020204" pitchFamily="34" charset="0"/>
                        <a:buChar char="•"/>
                      </a:pPr>
                      <a:r>
                        <a:rPr lang="nl-NL" sz="1400" dirty="0"/>
                        <a:t>Human </a:t>
                      </a:r>
                      <a:r>
                        <a:rPr lang="nl-NL" sz="1400" dirty="0" err="1"/>
                        <a:t>losses</a:t>
                      </a:r>
                      <a:r>
                        <a:rPr lang="nl-NL" sz="1400" dirty="0"/>
                        <a:t> </a:t>
                      </a:r>
                      <a:r>
                        <a:rPr lang="nl-NL" sz="1400" dirty="0" err="1"/>
                        <a:t>from</a:t>
                      </a:r>
                      <a:r>
                        <a:rPr lang="nl-NL" sz="1400" dirty="0"/>
                        <a:t> </a:t>
                      </a:r>
                      <a:r>
                        <a:rPr lang="nl-NL" sz="1400" dirty="0" err="1"/>
                        <a:t>external</a:t>
                      </a:r>
                      <a:r>
                        <a:rPr lang="nl-NL" sz="1400" dirty="0"/>
                        <a:t> sources (</a:t>
                      </a:r>
                      <a:r>
                        <a:rPr lang="nl-NL" sz="1400" dirty="0" err="1"/>
                        <a:t>terrorism</a:t>
                      </a:r>
                      <a:r>
                        <a:rPr lang="nl-NL" sz="1400" dirty="0"/>
                        <a:t>, </a:t>
                      </a:r>
                      <a:r>
                        <a:rPr lang="nl-NL" sz="1400" dirty="0" err="1"/>
                        <a:t>vandalism</a:t>
                      </a:r>
                      <a:r>
                        <a:rPr lang="nl-NL" sz="1400" dirty="0"/>
                        <a:t>) </a:t>
                      </a:r>
                      <a:endParaRPr lang="en-US" sz="1400" dirty="0">
                        <a:effectLst/>
                      </a:endParaRPr>
                    </a:p>
                  </a:txBody>
                  <a:tcPr marL="72000" marR="21976" marT="10988" marB="10988" anchor="ctr"/>
                </a:tc>
                <a:extLst>
                  <a:ext uri="{0D108BD9-81ED-4DB2-BD59-A6C34878D82A}">
                    <a16:rowId xmlns:a16="http://schemas.microsoft.com/office/drawing/2014/main" val="1155561963"/>
                  </a:ext>
                </a:extLst>
              </a:tr>
              <a:tr h="470741">
                <a:tc>
                  <a:txBody>
                    <a:bodyPr/>
                    <a:lstStyle/>
                    <a:p>
                      <a:pPr fontAlgn="base"/>
                      <a:r>
                        <a:rPr lang="en-US" sz="1400" dirty="0"/>
                        <a:t>Business disruption and system failures</a:t>
                      </a:r>
                      <a:endParaRPr lang="nl-NL" sz="1400" dirty="0">
                        <a:effectLst/>
                      </a:endParaRPr>
                    </a:p>
                  </a:txBody>
                  <a:tcPr marL="72000" marR="21976" marT="10988" marB="10988" anchor="ctr"/>
                </a:tc>
                <a:tc>
                  <a:txBody>
                    <a:bodyPr/>
                    <a:lstStyle/>
                    <a:p>
                      <a:pPr fontAlgn="base"/>
                      <a:r>
                        <a:rPr lang="nl-NL" sz="1400" dirty="0"/>
                        <a:t>Systems</a:t>
                      </a:r>
                      <a:endParaRPr lang="en-US" sz="1400" dirty="0">
                        <a:effectLst/>
                      </a:endParaRPr>
                    </a:p>
                  </a:txBody>
                  <a:tcPr marL="72000" marR="21976" marT="10988" marB="10988" anchor="ctr"/>
                </a:tc>
                <a:tc>
                  <a:txBody>
                    <a:bodyPr/>
                    <a:lstStyle/>
                    <a:p>
                      <a:pPr marL="171450" indent="-171450" fontAlgn="base">
                        <a:buFont typeface="Arial" panose="020B0604020202020204" pitchFamily="34" charset="0"/>
                        <a:buChar char="•"/>
                      </a:pPr>
                      <a:r>
                        <a:rPr lang="nl-NL" sz="1400" dirty="0"/>
                        <a:t>Hardware </a:t>
                      </a:r>
                    </a:p>
                    <a:p>
                      <a:pPr marL="171450" indent="-171450" fontAlgn="base">
                        <a:buFont typeface="Arial" panose="020B0604020202020204" pitchFamily="34" charset="0"/>
                        <a:buChar char="•"/>
                      </a:pPr>
                      <a:r>
                        <a:rPr lang="nl-NL" sz="1400" dirty="0"/>
                        <a:t>Software</a:t>
                      </a:r>
                      <a:endParaRPr lang="en-US" sz="1400" dirty="0">
                        <a:effectLst/>
                      </a:endParaRPr>
                    </a:p>
                  </a:txBody>
                  <a:tcPr marL="72000" marR="21976" marT="10988" marB="10988" anchor="ctr"/>
                </a:tc>
                <a:extLst>
                  <a:ext uri="{0D108BD9-81ED-4DB2-BD59-A6C34878D82A}">
                    <a16:rowId xmlns:a16="http://schemas.microsoft.com/office/drawing/2014/main" val="1794252903"/>
                  </a:ext>
                </a:extLst>
              </a:tr>
            </a:tbl>
          </a:graphicData>
        </a:graphic>
      </p:graphicFrame>
      <p:sp>
        <p:nvSpPr>
          <p:cNvPr id="11" name="TextBox 10">
            <a:extLst>
              <a:ext uri="{FF2B5EF4-FFF2-40B4-BE49-F238E27FC236}">
                <a16:creationId xmlns:a16="http://schemas.microsoft.com/office/drawing/2014/main" id="{9BC67766-251F-0718-CD22-17378CAC1413}"/>
              </a:ext>
            </a:extLst>
          </p:cNvPr>
          <p:cNvSpPr txBox="1"/>
          <p:nvPr/>
        </p:nvSpPr>
        <p:spPr>
          <a:xfrm>
            <a:off x="381959" y="213126"/>
            <a:ext cx="9777440"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Operational risk - examples</a:t>
            </a:r>
            <a:endPar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pic>
        <p:nvPicPr>
          <p:cNvPr id="14" name="Picture 13">
            <a:extLst>
              <a:ext uri="{FF2B5EF4-FFF2-40B4-BE49-F238E27FC236}">
                <a16:creationId xmlns:a16="http://schemas.microsoft.com/office/drawing/2014/main" id="{1D3EDC59-B52B-DD64-2CA0-DEB986A832EA}"/>
              </a:ext>
            </a:extLst>
          </p:cNvPr>
          <p:cNvPicPr>
            <a:picLocks noChangeAspect="1"/>
          </p:cNvPicPr>
          <p:nvPr/>
        </p:nvPicPr>
        <p:blipFill>
          <a:blip r:embed="rId3"/>
          <a:stretch>
            <a:fillRect/>
          </a:stretch>
        </p:blipFill>
        <p:spPr>
          <a:xfrm>
            <a:off x="5038764" y="1175558"/>
            <a:ext cx="4749553" cy="5113474"/>
          </a:xfrm>
          <a:prstGeom prst="rect">
            <a:avLst/>
          </a:prstGeom>
        </p:spPr>
      </p:pic>
    </p:spTree>
    <p:extLst>
      <p:ext uri="{BB962C8B-B14F-4D97-AF65-F5344CB8AC3E}">
        <p14:creationId xmlns:p14="http://schemas.microsoft.com/office/powerpoint/2010/main" val="123236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4"/>
                                        </p:tgtEl>
                                      </p:cBhvr>
                                    </p:animEffect>
                                    <p:set>
                                      <p:cBhvr>
                                        <p:cTn id="7" dur="1" fill="hold">
                                          <p:stCondLst>
                                            <p:cond delay="499"/>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3</a:t>
            </a:fld>
            <a:endParaRPr lang="en-US" dirty="0"/>
          </a:p>
        </p:txBody>
      </p:sp>
      <p:sp>
        <p:nvSpPr>
          <p:cNvPr id="6" name="TextBox 5">
            <a:extLst>
              <a:ext uri="{FF2B5EF4-FFF2-40B4-BE49-F238E27FC236}">
                <a16:creationId xmlns:a16="http://schemas.microsoft.com/office/drawing/2014/main" id="{DA130926-BAA7-BB2F-DAEC-71DCCFC45801}"/>
              </a:ext>
            </a:extLst>
          </p:cNvPr>
          <p:cNvSpPr txBox="1"/>
          <p:nvPr/>
        </p:nvSpPr>
        <p:spPr>
          <a:xfrm>
            <a:off x="310938" y="290540"/>
            <a:ext cx="11159012" cy="1600438"/>
          </a:xfrm>
          <a:prstGeom prst="rect">
            <a:avLst/>
          </a:prstGeom>
          <a:noFill/>
        </p:spPr>
        <p:txBody>
          <a:bodyPr wrap="square">
            <a:spAutoFit/>
          </a:bodyPr>
          <a:lstStyle/>
          <a:p>
            <a:r>
              <a:rPr lang="en-US" sz="2500" b="1" kern="0" dirty="0">
                <a:solidFill>
                  <a:srgbClr val="1F4E79"/>
                </a:solidFill>
                <a:latin typeface="SB Sans Display" panose="020B0503040504020204" pitchFamily="34" charset="0"/>
                <a:ea typeface="等线" panose="02010600030101010101" pitchFamily="2" charset="-122"/>
              </a:rPr>
              <a:t>Let’s walk through each step of managing operational risk using the example of a bank robbery.</a:t>
            </a:r>
          </a:p>
          <a:p>
            <a:endParaRPr lang="en-US" sz="2400" dirty="0"/>
          </a:p>
          <a:p>
            <a:endParaRPr lang="en-US" sz="2400" dirty="0"/>
          </a:p>
        </p:txBody>
      </p:sp>
      <p:pic>
        <p:nvPicPr>
          <p:cNvPr id="7" name="Рисунок 3">
            <a:extLst>
              <a:ext uri="{FF2B5EF4-FFF2-40B4-BE49-F238E27FC236}">
                <a16:creationId xmlns:a16="http://schemas.microsoft.com/office/drawing/2014/main" id="{51F75B49-D11B-9DB5-BB5C-77281F231475}"/>
              </a:ext>
            </a:extLst>
          </p:cNvPr>
          <p:cNvPicPr>
            <a:picLocks noChangeAspect="1"/>
          </p:cNvPicPr>
          <p:nvPr/>
        </p:nvPicPr>
        <p:blipFill>
          <a:blip r:embed="rId2"/>
          <a:stretch>
            <a:fillRect/>
          </a:stretch>
        </p:blipFill>
        <p:spPr>
          <a:xfrm>
            <a:off x="6835806" y="2346320"/>
            <a:ext cx="4983112" cy="2447845"/>
          </a:xfrm>
          <a:prstGeom prst="rect">
            <a:avLst/>
          </a:prstGeom>
        </p:spPr>
      </p:pic>
      <p:pic>
        <p:nvPicPr>
          <p:cNvPr id="8" name="Picture 7">
            <a:extLst>
              <a:ext uri="{FF2B5EF4-FFF2-40B4-BE49-F238E27FC236}">
                <a16:creationId xmlns:a16="http://schemas.microsoft.com/office/drawing/2014/main" id="{D2553FFC-FA84-2DFC-98DE-52BAB70E7BC2}"/>
              </a:ext>
            </a:extLst>
          </p:cNvPr>
          <p:cNvPicPr>
            <a:picLocks noChangeAspect="1"/>
          </p:cNvPicPr>
          <p:nvPr/>
        </p:nvPicPr>
        <p:blipFill>
          <a:blip r:embed="rId3"/>
          <a:stretch>
            <a:fillRect/>
          </a:stretch>
        </p:blipFill>
        <p:spPr>
          <a:xfrm>
            <a:off x="310938" y="2022496"/>
            <a:ext cx="5983331" cy="3318240"/>
          </a:xfrm>
          <a:prstGeom prst="rect">
            <a:avLst/>
          </a:prstGeom>
        </p:spPr>
      </p:pic>
    </p:spTree>
    <p:extLst>
      <p:ext uri="{BB962C8B-B14F-4D97-AF65-F5344CB8AC3E}">
        <p14:creationId xmlns:p14="http://schemas.microsoft.com/office/powerpoint/2010/main" val="18803430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346FA2B-EA52-0797-E19F-BDE1D8CC97E0}"/>
              </a:ext>
            </a:extLst>
          </p:cNvPr>
          <p:cNvSpPr>
            <a:spLocks noGrp="1"/>
          </p:cNvSpPr>
          <p:nvPr>
            <p:ph type="sldNum" sz="quarter" idx="12"/>
          </p:nvPr>
        </p:nvSpPr>
        <p:spPr/>
        <p:txBody>
          <a:bodyPr/>
          <a:lstStyle/>
          <a:p>
            <a:fld id="{48F63A3B-78C7-47BE-AE5E-E10140E04643}" type="slidenum">
              <a:rPr lang="en-US" smtClean="0"/>
              <a:t>4</a:t>
            </a:fld>
            <a:endParaRPr lang="en-US" dirty="0"/>
          </a:p>
        </p:txBody>
      </p:sp>
      <p:sp>
        <p:nvSpPr>
          <p:cNvPr id="3" name="TextBox 2">
            <a:extLst>
              <a:ext uri="{FF2B5EF4-FFF2-40B4-BE49-F238E27FC236}">
                <a16:creationId xmlns:a16="http://schemas.microsoft.com/office/drawing/2014/main" id="{B0B1E3C9-3E00-7AF5-9C86-3E21886F5EB9}"/>
              </a:ext>
            </a:extLst>
          </p:cNvPr>
          <p:cNvSpPr txBox="1"/>
          <p:nvPr/>
        </p:nvSpPr>
        <p:spPr>
          <a:xfrm>
            <a:off x="381959" y="213126"/>
            <a:ext cx="9777440"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1. Identify: scope (1/2)</a:t>
            </a:r>
            <a:endPar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pic>
        <p:nvPicPr>
          <p:cNvPr id="11" name="Picture 10">
            <a:extLst>
              <a:ext uri="{FF2B5EF4-FFF2-40B4-BE49-F238E27FC236}">
                <a16:creationId xmlns:a16="http://schemas.microsoft.com/office/drawing/2014/main" id="{CC93434C-2656-56A8-A809-6A341D842338}"/>
              </a:ext>
            </a:extLst>
          </p:cNvPr>
          <p:cNvPicPr>
            <a:picLocks noChangeAspect="1"/>
          </p:cNvPicPr>
          <p:nvPr/>
        </p:nvPicPr>
        <p:blipFill>
          <a:blip r:embed="rId2"/>
          <a:stretch>
            <a:fillRect/>
          </a:stretch>
        </p:blipFill>
        <p:spPr>
          <a:xfrm>
            <a:off x="381959" y="4424927"/>
            <a:ext cx="8855063" cy="2113985"/>
          </a:xfrm>
          <a:prstGeom prst="rect">
            <a:avLst/>
          </a:prstGeom>
        </p:spPr>
      </p:pic>
      <p:sp>
        <p:nvSpPr>
          <p:cNvPr id="4" name="TextBox 3">
            <a:extLst>
              <a:ext uri="{FF2B5EF4-FFF2-40B4-BE49-F238E27FC236}">
                <a16:creationId xmlns:a16="http://schemas.microsoft.com/office/drawing/2014/main" id="{D283B11B-2A86-C6C1-D2E2-74206C1C0186}"/>
              </a:ext>
            </a:extLst>
          </p:cNvPr>
          <p:cNvSpPr txBox="1"/>
          <p:nvPr/>
        </p:nvSpPr>
        <p:spPr>
          <a:xfrm>
            <a:off x="492145" y="787779"/>
            <a:ext cx="5799143" cy="5755422"/>
          </a:xfrm>
          <a:prstGeom prst="rect">
            <a:avLst/>
          </a:prstGeom>
          <a:noFill/>
        </p:spPr>
        <p:txBody>
          <a:bodyPr wrap="square" rtlCol="0">
            <a:spAutoFit/>
          </a:bodyPr>
          <a:lstStyle/>
          <a:p>
            <a:pPr algn="l"/>
            <a:r>
              <a:rPr lang="en-US" sz="1600" b="1" i="0" dirty="0">
                <a:effectLst/>
                <a:latin typeface="Söhne"/>
              </a:rPr>
              <a:t>Step 1:</a:t>
            </a:r>
            <a:r>
              <a:rPr lang="en-US" sz="1600" b="0" i="0" dirty="0">
                <a:effectLst/>
                <a:latin typeface="Söhne"/>
              </a:rPr>
              <a:t> </a:t>
            </a:r>
          </a:p>
          <a:p>
            <a:pPr algn="l"/>
            <a:r>
              <a:rPr lang="en-US" sz="1600" b="0" i="0" dirty="0">
                <a:effectLst/>
                <a:latin typeface="Söhne"/>
              </a:rPr>
              <a:t>The Basel II categorizes </a:t>
            </a:r>
          </a:p>
          <a:p>
            <a:pPr algn="l"/>
            <a:r>
              <a:rPr lang="en-US" sz="1600" b="0" i="0" dirty="0">
                <a:effectLst/>
                <a:latin typeface="Söhne"/>
              </a:rPr>
              <a:t>operational risk into eight </a:t>
            </a:r>
            <a:r>
              <a:rPr lang="en-US" sz="1600" b="1" i="0" dirty="0">
                <a:effectLst/>
                <a:latin typeface="Söhne"/>
              </a:rPr>
              <a:t>business lines (BL)</a:t>
            </a:r>
            <a:r>
              <a:rPr lang="en-US" sz="1600" b="0" i="0" dirty="0">
                <a:effectLst/>
                <a:latin typeface="Söhne"/>
              </a:rPr>
              <a:t>:</a:t>
            </a:r>
          </a:p>
          <a:p>
            <a:pPr algn="l">
              <a:buFont typeface="+mj-lt"/>
              <a:buAutoNum type="arabicPeriod"/>
            </a:pPr>
            <a:r>
              <a:rPr lang="en-US" sz="1600" b="0" i="0" dirty="0">
                <a:effectLst/>
                <a:latin typeface="Söhne"/>
              </a:rPr>
              <a:t>Retail banking</a:t>
            </a:r>
          </a:p>
          <a:p>
            <a:pPr algn="l">
              <a:buFont typeface="+mj-lt"/>
              <a:buAutoNum type="arabicPeriod"/>
            </a:pPr>
            <a:r>
              <a:rPr lang="en-US" sz="1600" b="0" i="0" dirty="0">
                <a:effectLst/>
                <a:latin typeface="Söhne"/>
              </a:rPr>
              <a:t>Corporate banking</a:t>
            </a:r>
          </a:p>
          <a:p>
            <a:pPr algn="l">
              <a:buFont typeface="+mj-lt"/>
              <a:buAutoNum type="arabicPeriod"/>
            </a:pPr>
            <a:r>
              <a:rPr lang="en-US" sz="1600" b="0" i="0" dirty="0">
                <a:effectLst/>
                <a:latin typeface="Söhne"/>
              </a:rPr>
              <a:t>Trading and sales</a:t>
            </a:r>
          </a:p>
          <a:p>
            <a:pPr algn="l">
              <a:buFont typeface="+mj-lt"/>
              <a:buAutoNum type="arabicPeriod"/>
            </a:pPr>
            <a:r>
              <a:rPr lang="en-US" sz="1600" b="0" i="0" dirty="0">
                <a:effectLst/>
                <a:latin typeface="Söhne"/>
              </a:rPr>
              <a:t>Payment and settlement</a:t>
            </a:r>
          </a:p>
          <a:p>
            <a:pPr algn="l">
              <a:buFont typeface="+mj-lt"/>
              <a:buAutoNum type="arabicPeriod"/>
            </a:pPr>
            <a:r>
              <a:rPr lang="en-US" sz="1600" b="0" i="0" dirty="0">
                <a:effectLst/>
                <a:latin typeface="Söhne"/>
              </a:rPr>
              <a:t>Agency services</a:t>
            </a:r>
          </a:p>
          <a:p>
            <a:pPr algn="l">
              <a:buFont typeface="+mj-lt"/>
              <a:buAutoNum type="arabicPeriod"/>
            </a:pPr>
            <a:r>
              <a:rPr lang="en-US" sz="1600" b="0" i="0" dirty="0">
                <a:effectLst/>
                <a:latin typeface="Söhne"/>
              </a:rPr>
              <a:t>Asset management</a:t>
            </a:r>
          </a:p>
          <a:p>
            <a:pPr algn="l">
              <a:buFont typeface="+mj-lt"/>
              <a:buAutoNum type="arabicPeriod"/>
            </a:pPr>
            <a:r>
              <a:rPr lang="en-US" sz="1600" b="0" i="0" dirty="0">
                <a:effectLst/>
                <a:latin typeface="Söhne"/>
              </a:rPr>
              <a:t>Retail brokerage</a:t>
            </a:r>
          </a:p>
          <a:p>
            <a:pPr algn="l">
              <a:buFont typeface="+mj-lt"/>
              <a:buAutoNum type="arabicPeriod"/>
            </a:pPr>
            <a:r>
              <a:rPr lang="en-US" sz="1600" b="0" i="0" dirty="0">
                <a:effectLst/>
                <a:latin typeface="Söhne"/>
              </a:rPr>
              <a:t>Investment banking and advisory services.</a:t>
            </a:r>
          </a:p>
          <a:p>
            <a:endParaRPr lang="en-US" sz="1600" dirty="0"/>
          </a:p>
          <a:p>
            <a:r>
              <a:rPr lang="en-US" sz="1600" b="1" dirty="0"/>
              <a:t>Step 2:</a:t>
            </a:r>
            <a:r>
              <a:rPr lang="en-US" sz="1600" dirty="0"/>
              <a:t> </a:t>
            </a:r>
          </a:p>
          <a:p>
            <a:r>
              <a:rPr lang="en-US" sz="1600" dirty="0"/>
              <a:t>For each BL should be established a list of </a:t>
            </a:r>
            <a:r>
              <a:rPr lang="en-US" sz="1600" b="1" dirty="0"/>
              <a:t>Business processes (BP)</a:t>
            </a:r>
            <a:r>
              <a:rPr lang="en-US" sz="1600" dirty="0"/>
              <a:t> =&gt; products that are provided by BL, for instance:        </a:t>
            </a:r>
          </a:p>
          <a:p>
            <a:r>
              <a:rPr lang="en-US" sz="1600" dirty="0"/>
              <a:t>I. Retail banking: Retail loans: mortgage, cards, other retail; </a:t>
            </a:r>
          </a:p>
          <a:p>
            <a:r>
              <a:rPr lang="en-US" sz="1600" dirty="0"/>
              <a:t>II. Corporate banking: Loans to LE: Large, Medium, Small-micro;</a:t>
            </a:r>
          </a:p>
          <a:p>
            <a:r>
              <a:rPr lang="en-US" sz="1600" dirty="0"/>
              <a:t>III. </a:t>
            </a:r>
            <a:r>
              <a:rPr lang="en-US" sz="1600" b="0" i="0" dirty="0">
                <a:effectLst/>
                <a:latin typeface="Söhne"/>
              </a:rPr>
              <a:t>Trading and sales: O</a:t>
            </a:r>
            <a:r>
              <a:rPr lang="en-US" sz="1600" dirty="0"/>
              <a:t>perations by desks</a:t>
            </a:r>
          </a:p>
          <a:p>
            <a:endParaRPr lang="en-US" sz="1600" dirty="0"/>
          </a:p>
          <a:p>
            <a:r>
              <a:rPr lang="en-US" sz="1600" b="1" dirty="0"/>
              <a:t>Step 3: </a:t>
            </a:r>
          </a:p>
          <a:p>
            <a:r>
              <a:rPr lang="en-US" sz="1600" dirty="0"/>
              <a:t>For each BP should be explicitly defined responsible person/department. Such a person/department is called </a:t>
            </a:r>
            <a:r>
              <a:rPr lang="en-US" sz="1600" b="1" dirty="0"/>
              <a:t>Risk Owner (RO)</a:t>
            </a:r>
          </a:p>
        </p:txBody>
      </p:sp>
      <p:pic>
        <p:nvPicPr>
          <p:cNvPr id="5" name="Рисунок 4">
            <a:extLst>
              <a:ext uri="{FF2B5EF4-FFF2-40B4-BE49-F238E27FC236}">
                <a16:creationId xmlns:a16="http://schemas.microsoft.com/office/drawing/2014/main" id="{4DC0C358-5FA4-58A6-B8C8-D93F9BA85195}"/>
              </a:ext>
            </a:extLst>
          </p:cNvPr>
          <p:cNvPicPr>
            <a:picLocks noChangeAspect="1"/>
          </p:cNvPicPr>
          <p:nvPr/>
        </p:nvPicPr>
        <p:blipFill>
          <a:blip r:embed="rId3"/>
          <a:stretch>
            <a:fillRect/>
          </a:stretch>
        </p:blipFill>
        <p:spPr>
          <a:xfrm>
            <a:off x="6291309" y="887301"/>
            <a:ext cx="5799143" cy="2526616"/>
          </a:xfrm>
          <a:prstGeom prst="rect">
            <a:avLst/>
          </a:prstGeom>
        </p:spPr>
      </p:pic>
      <p:pic>
        <p:nvPicPr>
          <p:cNvPr id="6" name="Рисунок 2">
            <a:extLst>
              <a:ext uri="{FF2B5EF4-FFF2-40B4-BE49-F238E27FC236}">
                <a16:creationId xmlns:a16="http://schemas.microsoft.com/office/drawing/2014/main" id="{A0DF2AAF-8FBD-8310-A4EA-9E191540C8F0}"/>
              </a:ext>
            </a:extLst>
          </p:cNvPr>
          <p:cNvPicPr>
            <a:picLocks noChangeAspect="1"/>
          </p:cNvPicPr>
          <p:nvPr/>
        </p:nvPicPr>
        <p:blipFill>
          <a:blip r:embed="rId4"/>
          <a:stretch>
            <a:fillRect/>
          </a:stretch>
        </p:blipFill>
        <p:spPr>
          <a:xfrm>
            <a:off x="6292163" y="3510656"/>
            <a:ext cx="5875447" cy="2663130"/>
          </a:xfrm>
          <a:prstGeom prst="rect">
            <a:avLst/>
          </a:prstGeom>
        </p:spPr>
      </p:pic>
    </p:spTree>
    <p:extLst>
      <p:ext uri="{BB962C8B-B14F-4D97-AF65-F5344CB8AC3E}">
        <p14:creationId xmlns:p14="http://schemas.microsoft.com/office/powerpoint/2010/main" val="2074403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346FA2B-EA52-0797-E19F-BDE1D8CC97E0}"/>
              </a:ext>
            </a:extLst>
          </p:cNvPr>
          <p:cNvSpPr>
            <a:spLocks noGrp="1"/>
          </p:cNvSpPr>
          <p:nvPr>
            <p:ph type="sldNum" sz="quarter" idx="12"/>
          </p:nvPr>
        </p:nvSpPr>
        <p:spPr/>
        <p:txBody>
          <a:bodyPr/>
          <a:lstStyle/>
          <a:p>
            <a:fld id="{48F63A3B-78C7-47BE-AE5E-E10140E04643}" type="slidenum">
              <a:rPr lang="en-US" smtClean="0"/>
              <a:t>5</a:t>
            </a:fld>
            <a:endParaRPr lang="en-US" dirty="0"/>
          </a:p>
        </p:txBody>
      </p:sp>
      <p:sp>
        <p:nvSpPr>
          <p:cNvPr id="3" name="TextBox 2">
            <a:extLst>
              <a:ext uri="{FF2B5EF4-FFF2-40B4-BE49-F238E27FC236}">
                <a16:creationId xmlns:a16="http://schemas.microsoft.com/office/drawing/2014/main" id="{B0B1E3C9-3E00-7AF5-9C86-3E21886F5EB9}"/>
              </a:ext>
            </a:extLst>
          </p:cNvPr>
          <p:cNvSpPr txBox="1"/>
          <p:nvPr/>
        </p:nvSpPr>
        <p:spPr>
          <a:xfrm>
            <a:off x="381959" y="213126"/>
            <a:ext cx="9777440"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1. Identify: self-assessment (2/2)</a:t>
            </a:r>
            <a:endPar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8" name="TextBox 7">
            <a:extLst>
              <a:ext uri="{FF2B5EF4-FFF2-40B4-BE49-F238E27FC236}">
                <a16:creationId xmlns:a16="http://schemas.microsoft.com/office/drawing/2014/main" id="{B130A157-3EF0-D796-DA89-096BFAE43CBC}"/>
              </a:ext>
            </a:extLst>
          </p:cNvPr>
          <p:cNvSpPr txBox="1"/>
          <p:nvPr/>
        </p:nvSpPr>
        <p:spPr>
          <a:xfrm>
            <a:off x="381959" y="933502"/>
            <a:ext cx="11203401" cy="3139321"/>
          </a:xfrm>
          <a:prstGeom prst="rect">
            <a:avLst/>
          </a:prstGeom>
          <a:noFill/>
        </p:spPr>
        <p:txBody>
          <a:bodyPr wrap="square">
            <a:spAutoFit/>
          </a:bodyPr>
          <a:lstStyle/>
          <a:p>
            <a:r>
              <a:rPr lang="en-US" sz="2200" dirty="0"/>
              <a:t>Each Risk owner in cooperation with the Risk management department performs </a:t>
            </a:r>
            <a:r>
              <a:rPr lang="en-US" sz="2200" b="1" dirty="0"/>
              <a:t>a self-assessment</a:t>
            </a:r>
            <a:r>
              <a:rPr lang="en-US" sz="2200" dirty="0"/>
              <a:t>:</a:t>
            </a:r>
          </a:p>
          <a:p>
            <a:endParaRPr lang="en-US" sz="2200" dirty="0"/>
          </a:p>
          <a:p>
            <a:r>
              <a:rPr lang="en-US" sz="2200" b="1" dirty="0"/>
              <a:t>Step 1:</a:t>
            </a:r>
            <a:r>
              <a:rPr lang="en-US" sz="2200" dirty="0"/>
              <a:t> </a:t>
            </a:r>
            <a:r>
              <a:rPr lang="en-US" sz="2200" b="0" i="0" dirty="0">
                <a:effectLst/>
                <a:latin typeface="Söhne"/>
              </a:rPr>
              <a:t>Review and evaluate the existing processes, systems, and controls in place to identify areas </a:t>
            </a:r>
            <a:r>
              <a:rPr lang="en-US" sz="2200" b="1" i="0" dirty="0">
                <a:effectLst/>
                <a:latin typeface="Söhne"/>
              </a:rPr>
              <a:t>where operational risks may arise</a:t>
            </a:r>
            <a:r>
              <a:rPr lang="en-US" sz="2200" b="0" i="0" dirty="0">
                <a:effectLst/>
                <a:latin typeface="Söhne"/>
              </a:rPr>
              <a:t>.</a:t>
            </a:r>
          </a:p>
          <a:p>
            <a:pPr algn="l"/>
            <a:r>
              <a:rPr lang="en-US" sz="2200" b="1" i="0" dirty="0">
                <a:effectLst/>
                <a:latin typeface="Söhne"/>
              </a:rPr>
              <a:t>Step 2: </a:t>
            </a:r>
            <a:r>
              <a:rPr lang="en-US" sz="2200" i="0" dirty="0">
                <a:effectLst/>
                <a:latin typeface="Söhne"/>
              </a:rPr>
              <a:t>Assess the </a:t>
            </a:r>
            <a:r>
              <a:rPr lang="en-US" sz="2200" b="1" i="0" dirty="0">
                <a:effectLst/>
                <a:latin typeface="Söhne"/>
              </a:rPr>
              <a:t>probability and severity</a:t>
            </a:r>
            <a:r>
              <a:rPr lang="en-US" sz="2200" i="0" dirty="0">
                <a:effectLst/>
                <a:latin typeface="Söhne"/>
              </a:rPr>
              <a:t> of each identified risk in the organiz</a:t>
            </a:r>
            <a:r>
              <a:rPr lang="en-US" sz="2200" b="0" i="0" dirty="0">
                <a:effectLst/>
                <a:latin typeface="Söhne"/>
              </a:rPr>
              <a:t>ation and prioritize risks based on their severity.</a:t>
            </a:r>
          </a:p>
          <a:p>
            <a:pPr algn="l"/>
            <a:r>
              <a:rPr lang="en-US" sz="2200" b="1" i="0" dirty="0">
                <a:effectLst/>
                <a:latin typeface="Söhne"/>
              </a:rPr>
              <a:t>Step 3: </a:t>
            </a:r>
            <a:r>
              <a:rPr lang="en-US" sz="2200" b="0" i="0" dirty="0">
                <a:effectLst/>
                <a:latin typeface="Söhne"/>
              </a:rPr>
              <a:t>Develop </a:t>
            </a:r>
            <a:r>
              <a:rPr lang="en-US" sz="2200" b="1" i="0" dirty="0">
                <a:effectLst/>
                <a:latin typeface="Söhne"/>
              </a:rPr>
              <a:t>strategies to mitigate or reduce</a:t>
            </a:r>
            <a:r>
              <a:rPr lang="en-US" sz="2200" b="0" i="0" dirty="0">
                <a:effectLst/>
                <a:latin typeface="Söhne"/>
              </a:rPr>
              <a:t> the impact of the identified risks, such as implementing new controls, enhancing existing processes, or improving technology systems.</a:t>
            </a:r>
          </a:p>
        </p:txBody>
      </p:sp>
    </p:spTree>
    <p:extLst>
      <p:ext uri="{BB962C8B-B14F-4D97-AF65-F5344CB8AC3E}">
        <p14:creationId xmlns:p14="http://schemas.microsoft.com/office/powerpoint/2010/main" val="9023672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346FA2B-EA52-0797-E19F-BDE1D8CC97E0}"/>
              </a:ext>
            </a:extLst>
          </p:cNvPr>
          <p:cNvSpPr>
            <a:spLocks noGrp="1"/>
          </p:cNvSpPr>
          <p:nvPr>
            <p:ph type="sldNum" sz="quarter" idx="12"/>
          </p:nvPr>
        </p:nvSpPr>
        <p:spPr/>
        <p:txBody>
          <a:bodyPr/>
          <a:lstStyle/>
          <a:p>
            <a:fld id="{48F63A3B-78C7-47BE-AE5E-E10140E04643}" type="slidenum">
              <a:rPr lang="en-US" smtClean="0"/>
              <a:t>6</a:t>
            </a:fld>
            <a:endParaRPr lang="en-US" dirty="0"/>
          </a:p>
        </p:txBody>
      </p:sp>
      <p:sp>
        <p:nvSpPr>
          <p:cNvPr id="3" name="TextBox 2">
            <a:extLst>
              <a:ext uri="{FF2B5EF4-FFF2-40B4-BE49-F238E27FC236}">
                <a16:creationId xmlns:a16="http://schemas.microsoft.com/office/drawing/2014/main" id="{B0B1E3C9-3E00-7AF5-9C86-3E21886F5EB9}"/>
              </a:ext>
            </a:extLst>
          </p:cNvPr>
          <p:cNvSpPr txBox="1"/>
          <p:nvPr/>
        </p:nvSpPr>
        <p:spPr>
          <a:xfrm>
            <a:off x="381959" y="213126"/>
            <a:ext cx="9777440"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2. Measure: operational risk loss database (1/3)</a:t>
            </a:r>
            <a:endPar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6" name="TextBox 5">
            <a:extLst>
              <a:ext uri="{FF2B5EF4-FFF2-40B4-BE49-F238E27FC236}">
                <a16:creationId xmlns:a16="http://schemas.microsoft.com/office/drawing/2014/main" id="{89C5E2C8-0113-4940-5D12-CA6A1E57CC5A}"/>
              </a:ext>
            </a:extLst>
          </p:cNvPr>
          <p:cNvSpPr txBox="1"/>
          <p:nvPr/>
        </p:nvSpPr>
        <p:spPr>
          <a:xfrm>
            <a:off x="381959" y="889452"/>
            <a:ext cx="11354321" cy="5324535"/>
          </a:xfrm>
          <a:prstGeom prst="rect">
            <a:avLst/>
          </a:prstGeom>
          <a:noFill/>
        </p:spPr>
        <p:txBody>
          <a:bodyPr wrap="square">
            <a:spAutoFit/>
          </a:bodyPr>
          <a:lstStyle/>
          <a:p>
            <a:pPr algn="l"/>
            <a:r>
              <a:rPr lang="en-US" sz="2000" b="0" i="0" dirty="0">
                <a:effectLst/>
                <a:latin typeface="Söhne"/>
              </a:rPr>
              <a:t>The main data source for operational risk management is the operational risk loss database. It is a collection of information about operational losses that have occurred within an organization. </a:t>
            </a:r>
          </a:p>
          <a:p>
            <a:pPr algn="l"/>
            <a:r>
              <a:rPr lang="en-US" sz="2000" b="0" i="0" dirty="0">
                <a:effectLst/>
                <a:latin typeface="Söhne"/>
              </a:rPr>
              <a:t>The operational risk loss database</a:t>
            </a:r>
            <a:r>
              <a:rPr lang="en-US" sz="2000" dirty="0">
                <a:latin typeface="Söhne"/>
              </a:rPr>
              <a:t> should contain:</a:t>
            </a:r>
            <a:endParaRPr lang="en-US" sz="2000" b="0" i="0" dirty="0">
              <a:effectLst/>
              <a:latin typeface="Söhne"/>
            </a:endParaRPr>
          </a:p>
          <a:p>
            <a:pPr algn="l"/>
            <a:endParaRPr lang="en-US" sz="2000" dirty="0">
              <a:latin typeface="Söhne"/>
            </a:endParaRPr>
          </a:p>
          <a:p>
            <a:pPr marL="342900" indent="-342900" algn="l">
              <a:buFont typeface="+mj-lt"/>
              <a:buAutoNum type="arabicPeriod"/>
            </a:pPr>
            <a:r>
              <a:rPr lang="en-US" sz="2000" b="0" i="0" dirty="0">
                <a:effectLst/>
                <a:latin typeface="Söhne"/>
              </a:rPr>
              <a:t>General Loss Event Information: date, time, location, and business unit involved</a:t>
            </a:r>
          </a:p>
          <a:p>
            <a:pPr marL="342900" indent="-342900" algn="l">
              <a:buFont typeface="+mj-lt"/>
              <a:buAutoNum type="arabicPeriod"/>
            </a:pPr>
            <a:r>
              <a:rPr lang="en-US" sz="2000" b="0" i="0" dirty="0">
                <a:effectLst/>
                <a:latin typeface="Söhne"/>
              </a:rPr>
              <a:t>Risk type: fraud, IT failure, human error, compliance breach, </a:t>
            </a:r>
            <a:r>
              <a:rPr lang="en-US" sz="2000" b="0" i="0" dirty="0" err="1">
                <a:effectLst/>
                <a:latin typeface="Söhne"/>
              </a:rPr>
              <a:t>etc</a:t>
            </a:r>
            <a:r>
              <a:rPr lang="en-US" sz="2000" b="0" i="0" dirty="0">
                <a:effectLst/>
                <a:latin typeface="Söhne"/>
              </a:rPr>
              <a:t> (slide 4)</a:t>
            </a:r>
          </a:p>
          <a:p>
            <a:pPr marL="342900" indent="-342900" algn="l">
              <a:buFont typeface="+mj-lt"/>
              <a:buAutoNum type="arabicPeriod"/>
            </a:pPr>
            <a:r>
              <a:rPr lang="en-US" sz="2000" b="0" i="0" dirty="0">
                <a:effectLst/>
                <a:latin typeface="Söhne"/>
              </a:rPr>
              <a:t>Root cause: a lack of controls, poor training, systems failure, </a:t>
            </a:r>
            <a:r>
              <a:rPr lang="en-US" sz="2000" b="0" i="0" dirty="0" err="1">
                <a:effectLst/>
                <a:latin typeface="Söhne"/>
              </a:rPr>
              <a:t>etc</a:t>
            </a:r>
            <a:endParaRPr lang="en-US" sz="2000" b="0" i="0" dirty="0">
              <a:effectLst/>
              <a:latin typeface="Söhne"/>
            </a:endParaRPr>
          </a:p>
          <a:p>
            <a:pPr marL="342900" indent="-342900" algn="l">
              <a:buFont typeface="+mj-lt"/>
              <a:buAutoNum type="arabicPeriod"/>
            </a:pPr>
            <a:r>
              <a:rPr lang="en-US" sz="2000" b="0" i="0" dirty="0">
                <a:effectLst/>
                <a:latin typeface="Söhne"/>
              </a:rPr>
              <a:t>Loss Amount: financial impact of the loss event</a:t>
            </a:r>
          </a:p>
          <a:p>
            <a:pPr marL="342900" indent="-342900" algn="l">
              <a:buFont typeface="+mj-lt"/>
              <a:buAutoNum type="arabicPeriod"/>
            </a:pPr>
            <a:r>
              <a:rPr lang="en-US" sz="2000" b="0" i="0" dirty="0">
                <a:effectLst/>
                <a:latin typeface="Söhne"/>
              </a:rPr>
              <a:t>Business Impact: impact of the event on the business, such as reputation damage, reporting misstatement and </a:t>
            </a:r>
            <a:r>
              <a:rPr lang="en-US" sz="2000" b="0" i="0" dirty="0" err="1">
                <a:effectLst/>
                <a:latin typeface="Söhne"/>
              </a:rPr>
              <a:t>etc</a:t>
            </a:r>
            <a:endParaRPr lang="en-US" sz="2000" b="0" i="0" dirty="0">
              <a:effectLst/>
              <a:latin typeface="Söhne"/>
            </a:endParaRPr>
          </a:p>
          <a:p>
            <a:pPr marL="342900" indent="-342900" algn="l">
              <a:buFont typeface="+mj-lt"/>
              <a:buAutoNum type="arabicPeriod"/>
            </a:pPr>
            <a:r>
              <a:rPr lang="en-US" sz="2000" b="0" i="0" dirty="0">
                <a:effectLst/>
                <a:latin typeface="Söhne"/>
              </a:rPr>
              <a:t>Mitigation Measures: measures taken to mitigate the impact of the loss event, such as implementing new controls, adjusting existing processes, improving IT systems</a:t>
            </a:r>
            <a:r>
              <a:rPr lang="en-US" sz="2000" dirty="0">
                <a:latin typeface="Söhne"/>
              </a:rPr>
              <a:t> and </a:t>
            </a:r>
            <a:r>
              <a:rPr lang="en-US" sz="2000" dirty="0" err="1">
                <a:latin typeface="Söhne"/>
              </a:rPr>
              <a:t>etc</a:t>
            </a:r>
            <a:endParaRPr lang="en-US" sz="2000" b="0" i="0" dirty="0">
              <a:effectLst/>
              <a:latin typeface="Söhne"/>
            </a:endParaRPr>
          </a:p>
          <a:p>
            <a:pPr marL="342900" indent="-342900" algn="l">
              <a:buFont typeface="+mj-lt"/>
              <a:buAutoNum type="arabicPeriod"/>
            </a:pPr>
            <a:r>
              <a:rPr lang="en-US" sz="2000" b="0" i="0" dirty="0">
                <a:effectLst/>
                <a:latin typeface="Söhne"/>
              </a:rPr>
              <a:t>Related Documents: any relevant documents, such as investigation reports, audit reports, or regulatory filings.</a:t>
            </a:r>
          </a:p>
          <a:p>
            <a:pPr marL="342900" indent="-342900" algn="l">
              <a:buFont typeface="+mj-lt"/>
              <a:buAutoNum type="arabicPeriod"/>
            </a:pPr>
            <a:endParaRPr lang="en-US" sz="2000" dirty="0">
              <a:latin typeface="Söhne"/>
            </a:endParaRPr>
          </a:p>
          <a:p>
            <a:r>
              <a:rPr lang="en-GB" sz="2000" kern="0" dirty="0">
                <a:latin typeface="SB Sans Display" panose="020B0503040504020204" pitchFamily="34" charset="0"/>
                <a:ea typeface="等线" panose="02010600030101010101" pitchFamily="2" charset="-122"/>
                <a:cs typeface="SB Sans Display" panose="020B0503040504020204" pitchFamily="34" charset="0"/>
              </a:rPr>
              <a:t>Operational risk loss database – is a special focus of regulatory oversight. </a:t>
            </a:r>
            <a:r>
              <a:rPr lang="en-US" sz="2000" dirty="0"/>
              <a:t>If the regulator reveals severe deficiencies, it may end up with </a:t>
            </a:r>
            <a:r>
              <a:rPr lang="en-US" sz="2000" b="1" dirty="0"/>
              <a:t>add-ons for the capital adequacy ratio.</a:t>
            </a:r>
            <a:endParaRPr lang="en-US" sz="2000" b="1" i="0" dirty="0">
              <a:effectLst/>
              <a:latin typeface="Söhne"/>
            </a:endParaRPr>
          </a:p>
        </p:txBody>
      </p:sp>
      <p:sp>
        <p:nvSpPr>
          <p:cNvPr id="11" name="TextBox 10">
            <a:extLst>
              <a:ext uri="{FF2B5EF4-FFF2-40B4-BE49-F238E27FC236}">
                <a16:creationId xmlns:a16="http://schemas.microsoft.com/office/drawing/2014/main" id="{D306C43A-8472-50B7-D21D-58B5E11C1271}"/>
              </a:ext>
            </a:extLst>
          </p:cNvPr>
          <p:cNvSpPr txBox="1"/>
          <p:nvPr/>
        </p:nvSpPr>
        <p:spPr>
          <a:xfrm>
            <a:off x="10771354" y="259293"/>
            <a:ext cx="1038687" cy="430887"/>
          </a:xfrm>
          <a:prstGeom prst="rect">
            <a:avLst/>
          </a:prstGeom>
          <a:noFill/>
          <a:ln>
            <a:solidFill>
              <a:srgbClr val="7030A0"/>
            </a:solidFill>
          </a:ln>
        </p:spPr>
        <p:txBody>
          <a:bodyPr wrap="square" rtlCol="0">
            <a:spAutoFit/>
          </a:bodyPr>
          <a:lstStyle/>
          <a:p>
            <a:r>
              <a:rPr lang="en-US" sz="2200" dirty="0">
                <a:solidFill>
                  <a:srgbClr val="7030A0"/>
                </a:solidFill>
              </a:rPr>
              <a:t>GPT</a:t>
            </a:r>
            <a:r>
              <a:rPr lang="en-NL" sz="2200" b="0" i="0" dirty="0">
                <a:solidFill>
                  <a:srgbClr val="7030A0"/>
                </a:solidFill>
                <a:effectLst/>
                <a:latin typeface="arial" panose="020B0604020202020204" pitchFamily="34" charset="0"/>
              </a:rPr>
              <a:t> ©</a:t>
            </a:r>
            <a:endParaRPr lang="en-NL" sz="2200" dirty="0">
              <a:solidFill>
                <a:srgbClr val="7030A0"/>
              </a:solidFill>
              <a:latin typeface="arial" panose="020B0604020202020204" pitchFamily="34" charset="0"/>
            </a:endParaRPr>
          </a:p>
        </p:txBody>
      </p:sp>
    </p:spTree>
    <p:extLst>
      <p:ext uri="{BB962C8B-B14F-4D97-AF65-F5344CB8AC3E}">
        <p14:creationId xmlns:p14="http://schemas.microsoft.com/office/powerpoint/2010/main" val="22278635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346FA2B-EA52-0797-E19F-BDE1D8CC97E0}"/>
              </a:ext>
            </a:extLst>
          </p:cNvPr>
          <p:cNvSpPr>
            <a:spLocks noGrp="1"/>
          </p:cNvSpPr>
          <p:nvPr>
            <p:ph type="sldNum" sz="quarter" idx="12"/>
          </p:nvPr>
        </p:nvSpPr>
        <p:spPr/>
        <p:txBody>
          <a:bodyPr/>
          <a:lstStyle/>
          <a:p>
            <a:fld id="{48F63A3B-78C7-47BE-AE5E-E10140E04643}" type="slidenum">
              <a:rPr lang="en-US" smtClean="0"/>
              <a:t>7</a:t>
            </a:fld>
            <a:endParaRPr lang="en-US" dirty="0"/>
          </a:p>
        </p:txBody>
      </p:sp>
      <p:sp>
        <p:nvSpPr>
          <p:cNvPr id="3" name="TextBox 2">
            <a:extLst>
              <a:ext uri="{FF2B5EF4-FFF2-40B4-BE49-F238E27FC236}">
                <a16:creationId xmlns:a16="http://schemas.microsoft.com/office/drawing/2014/main" id="{B0B1E3C9-3E00-7AF5-9C86-3E21886F5EB9}"/>
              </a:ext>
            </a:extLst>
          </p:cNvPr>
          <p:cNvSpPr txBox="1"/>
          <p:nvPr/>
        </p:nvSpPr>
        <p:spPr>
          <a:xfrm>
            <a:off x="381959" y="213126"/>
            <a:ext cx="9777440"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2. Measure: regulatory perspective (2/3)</a:t>
            </a:r>
            <a:endPar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mc:AlternateContent xmlns:mc="http://schemas.openxmlformats.org/markup-compatibility/2006">
        <mc:Choice xmlns:a14="http://schemas.microsoft.com/office/drawing/2010/main" Requires="a14">
          <p:sp>
            <p:nvSpPr>
              <p:cNvPr id="6" name="TextBox 5">
                <a:extLst>
                  <a:ext uri="{FF2B5EF4-FFF2-40B4-BE49-F238E27FC236}">
                    <a16:creationId xmlns:a16="http://schemas.microsoft.com/office/drawing/2014/main" id="{89C5E2C8-0113-4940-5D12-CA6A1E57CC5A}"/>
                  </a:ext>
                </a:extLst>
              </p:cNvPr>
              <p:cNvSpPr txBox="1"/>
              <p:nvPr/>
            </p:nvSpPr>
            <p:spPr>
              <a:xfrm>
                <a:off x="381958" y="690180"/>
                <a:ext cx="11810042" cy="5816977"/>
              </a:xfrm>
              <a:prstGeom prst="rect">
                <a:avLst/>
              </a:prstGeom>
              <a:noFill/>
            </p:spPr>
            <p:txBody>
              <a:bodyPr wrap="square">
                <a:spAutoFit/>
              </a:bodyPr>
              <a:lstStyle/>
              <a:p>
                <a:r>
                  <a:rPr lang="en-US" dirty="0"/>
                  <a:t>Metric I - </a:t>
                </a:r>
                <a:r>
                  <a:rPr lang="en-US" b="1" dirty="0"/>
                  <a:t>RWA for operational risk. </a:t>
                </a:r>
                <a:r>
                  <a:rPr lang="en-US" dirty="0"/>
                  <a:t>There are 3 calculation approaches:</a:t>
                </a:r>
              </a:p>
              <a:p>
                <a:endParaRPr lang="en-US" sz="1600" dirty="0"/>
              </a:p>
              <a:p>
                <a:r>
                  <a:rPr lang="en-US" sz="1600" dirty="0"/>
                  <a:t>1. Standardized approach based on net PL result of the bank: </a:t>
                </a:r>
                <a14:m>
                  <m:oMath xmlns:m="http://schemas.openxmlformats.org/officeDocument/2006/math">
                    <m:r>
                      <a:rPr lang="en-US" sz="1600" b="1" i="1" smtClean="0">
                        <a:solidFill>
                          <a:srgbClr val="0070C0"/>
                        </a:solidFill>
                        <a:latin typeface="Cambria Math" panose="02040503050406030204" pitchFamily="18" charset="0"/>
                      </a:rPr>
                      <m:t>𝑶𝑹</m:t>
                    </m:r>
                    <m:r>
                      <a:rPr lang="en-US" sz="1600" b="1" i="1" smtClean="0">
                        <a:solidFill>
                          <a:srgbClr val="0070C0"/>
                        </a:solidFill>
                        <a:latin typeface="Cambria Math" panose="02040503050406030204" pitchFamily="18" charset="0"/>
                      </a:rPr>
                      <m:t> </m:t>
                    </m:r>
                    <m:r>
                      <a:rPr lang="en-US" sz="1600" b="1" i="1" smtClean="0">
                        <a:solidFill>
                          <a:srgbClr val="0070C0"/>
                        </a:solidFill>
                        <a:latin typeface="Cambria Math" panose="02040503050406030204" pitchFamily="18" charset="0"/>
                      </a:rPr>
                      <m:t>𝑹𝑾𝑨</m:t>
                    </m:r>
                    <m:r>
                      <a:rPr lang="en-US" sz="1600" b="1" i="1" smtClean="0">
                        <a:solidFill>
                          <a:srgbClr val="0070C0"/>
                        </a:solidFill>
                        <a:latin typeface="Cambria Math" panose="02040503050406030204" pitchFamily="18" charset="0"/>
                      </a:rPr>
                      <m:t>=</m:t>
                    </m:r>
                    <m:r>
                      <m:rPr>
                        <m:nor/>
                      </m:rPr>
                      <a:rPr lang="en-US" sz="1600" b="1" dirty="0">
                        <a:solidFill>
                          <a:srgbClr val="0070C0"/>
                        </a:solidFill>
                      </a:rPr>
                      <m:t>BI</m:t>
                    </m:r>
                    <m:r>
                      <m:rPr>
                        <m:nor/>
                      </m:rPr>
                      <a:rPr lang="en-US" sz="1600" b="1" dirty="0">
                        <a:solidFill>
                          <a:srgbClr val="0070C0"/>
                        </a:solidFill>
                      </a:rPr>
                      <m:t> (</m:t>
                    </m:r>
                    <m:r>
                      <m:rPr>
                        <m:nor/>
                      </m:rPr>
                      <a:rPr lang="en-US" sz="1600" b="1" dirty="0">
                        <a:solidFill>
                          <a:srgbClr val="0070C0"/>
                        </a:solidFill>
                      </a:rPr>
                      <m:t>Business</m:t>
                    </m:r>
                    <m:r>
                      <m:rPr>
                        <m:nor/>
                      </m:rPr>
                      <a:rPr lang="en-US" sz="1600" b="1" dirty="0">
                        <a:solidFill>
                          <a:srgbClr val="0070C0"/>
                        </a:solidFill>
                      </a:rPr>
                      <m:t> </m:t>
                    </m:r>
                    <m:r>
                      <m:rPr>
                        <m:nor/>
                      </m:rPr>
                      <a:rPr lang="en-US" sz="1600" b="1" dirty="0">
                        <a:solidFill>
                          <a:srgbClr val="0070C0"/>
                        </a:solidFill>
                      </a:rPr>
                      <m:t>Indicator</m:t>
                    </m:r>
                    <m:r>
                      <m:rPr>
                        <m:nor/>
                      </m:rPr>
                      <a:rPr lang="en-US" sz="1600" b="1" dirty="0">
                        <a:solidFill>
                          <a:srgbClr val="0070C0"/>
                        </a:solidFill>
                      </a:rPr>
                      <m:t>) </m:t>
                    </m:r>
                    <m:r>
                      <m:rPr>
                        <m:nor/>
                      </m:rPr>
                      <a:rPr lang="en-US" sz="1600" b="1" dirty="0">
                        <a:solidFill>
                          <a:srgbClr val="0070C0"/>
                        </a:solidFill>
                      </a:rPr>
                      <m:t>component</m:t>
                    </m:r>
                    <m:r>
                      <m:rPr>
                        <m:nor/>
                      </m:rPr>
                      <a:rPr lang="en-US" sz="1600" b="1" dirty="0">
                        <a:solidFill>
                          <a:srgbClr val="0070C0"/>
                        </a:solidFill>
                      </a:rPr>
                      <m:t> ∗ 12,5 ∗ 15%</m:t>
                    </m:r>
                  </m:oMath>
                </a14:m>
                <a:r>
                  <a:rPr lang="en-US" sz="1600" b="1" dirty="0">
                    <a:solidFill>
                      <a:srgbClr val="0070C0"/>
                    </a:solidFill>
                  </a:rPr>
                  <a:t> </a:t>
                </a:r>
                <a:r>
                  <a:rPr lang="en-US" sz="1600" i="1" dirty="0">
                    <a:solidFill>
                      <a:schemeClr val="bg1">
                        <a:lumMod val="75000"/>
                      </a:schemeClr>
                    </a:solidFill>
                  </a:rPr>
                  <a:t>(details in IE 7.1)</a:t>
                </a:r>
              </a:p>
              <a:p>
                <a:r>
                  <a:rPr lang="en-US" sz="1600" dirty="0"/>
                  <a:t>2. Revised Standardized approach</a:t>
                </a:r>
                <a:r>
                  <a:rPr lang="en-US" sz="1600" baseline="30000" dirty="0"/>
                  <a:t>1</a:t>
                </a:r>
                <a:r>
                  <a:rPr lang="en-US" sz="1600" dirty="0"/>
                  <a:t>. Basically the same as the standardized approach: </a:t>
                </a:r>
                <a14:m>
                  <m:oMath xmlns:m="http://schemas.openxmlformats.org/officeDocument/2006/math">
                    <m:r>
                      <a:rPr lang="en-US" sz="1600" b="1" i="1" smtClean="0">
                        <a:solidFill>
                          <a:srgbClr val="0070C0"/>
                        </a:solidFill>
                        <a:latin typeface="Cambria Math" panose="02040503050406030204" pitchFamily="18" charset="0"/>
                      </a:rPr>
                      <m:t>𝑶𝑹</m:t>
                    </m:r>
                    <m:r>
                      <a:rPr lang="en-US" sz="1600" b="1" i="1" smtClean="0">
                        <a:solidFill>
                          <a:srgbClr val="0070C0"/>
                        </a:solidFill>
                        <a:latin typeface="Cambria Math" panose="02040503050406030204" pitchFamily="18" charset="0"/>
                      </a:rPr>
                      <m:t> </m:t>
                    </m:r>
                    <m:r>
                      <a:rPr lang="en-US" sz="1600" b="1" i="1" smtClean="0">
                        <a:solidFill>
                          <a:srgbClr val="0070C0"/>
                        </a:solidFill>
                        <a:latin typeface="Cambria Math" panose="02040503050406030204" pitchFamily="18" charset="0"/>
                      </a:rPr>
                      <m:t>𝑹𝑾𝑨</m:t>
                    </m:r>
                    <m:r>
                      <a:rPr lang="en-US" sz="1600" b="1" i="1" smtClean="0">
                        <a:solidFill>
                          <a:srgbClr val="0070C0"/>
                        </a:solidFill>
                        <a:latin typeface="Cambria Math" panose="02040503050406030204" pitchFamily="18" charset="0"/>
                      </a:rPr>
                      <m:t>=</m:t>
                    </m:r>
                    <m:r>
                      <m:rPr>
                        <m:nor/>
                      </m:rPr>
                      <a:rPr lang="en-US" sz="1600" b="1" dirty="0">
                        <a:solidFill>
                          <a:srgbClr val="0070C0"/>
                        </a:solidFill>
                      </a:rPr>
                      <m:t>BI</m:t>
                    </m:r>
                    <m:r>
                      <m:rPr>
                        <m:nor/>
                      </m:rPr>
                      <a:rPr lang="en-US" sz="1600" b="1" dirty="0">
                        <a:solidFill>
                          <a:srgbClr val="0070C0"/>
                        </a:solidFill>
                      </a:rPr>
                      <m:t> </m:t>
                    </m:r>
                    <m:r>
                      <m:rPr>
                        <m:nor/>
                      </m:rPr>
                      <a:rPr lang="en-US" sz="1600" b="1" dirty="0">
                        <a:solidFill>
                          <a:srgbClr val="0070C0"/>
                        </a:solidFill>
                      </a:rPr>
                      <m:t>component</m:t>
                    </m:r>
                    <m:r>
                      <m:rPr>
                        <m:nor/>
                      </m:rPr>
                      <a:rPr lang="en-US" sz="1600" b="1" dirty="0">
                        <a:solidFill>
                          <a:srgbClr val="0070C0"/>
                        </a:solidFill>
                      </a:rPr>
                      <m:t> ∗ 12,5 ∗ </m:t>
                    </m:r>
                    <m:r>
                      <m:rPr>
                        <m:nor/>
                      </m:rPr>
                      <a:rPr lang="en-US" sz="1600" b="1" i="0" dirty="0" smtClean="0">
                        <a:solidFill>
                          <a:srgbClr val="0070C0"/>
                        </a:solidFill>
                      </a:rPr>
                      <m:t>Regulatory</m:t>
                    </m:r>
                    <m:r>
                      <m:rPr>
                        <m:nor/>
                      </m:rPr>
                      <a:rPr lang="en-US" sz="1600" b="1" i="0" dirty="0" smtClean="0">
                        <a:solidFill>
                          <a:srgbClr val="0070C0"/>
                        </a:solidFill>
                      </a:rPr>
                      <m:t> </m:t>
                    </m:r>
                    <m:r>
                      <m:rPr>
                        <m:nor/>
                      </m:rPr>
                      <a:rPr lang="en-US" sz="1600" b="1" i="0" dirty="0" smtClean="0">
                        <a:solidFill>
                          <a:srgbClr val="0070C0"/>
                        </a:solidFill>
                      </a:rPr>
                      <m:t>constant</m:t>
                    </m:r>
                    <m:r>
                      <m:rPr>
                        <m:nor/>
                      </m:rPr>
                      <a:rPr lang="en-US" sz="1600" b="1" i="0" dirty="0" smtClean="0">
                        <a:solidFill>
                          <a:srgbClr val="0070C0"/>
                        </a:solidFill>
                      </a:rPr>
                      <m:t> ∗ </m:t>
                    </m:r>
                    <m:r>
                      <m:rPr>
                        <m:nor/>
                      </m:rPr>
                      <a:rPr lang="en-US" sz="1600" b="1" i="0" dirty="0" smtClean="0">
                        <a:solidFill>
                          <a:srgbClr val="0070C0"/>
                        </a:solidFill>
                      </a:rPr>
                      <m:t>ILM</m:t>
                    </m:r>
                    <m:r>
                      <m:rPr>
                        <m:nor/>
                      </m:rPr>
                      <a:rPr lang="en-US" sz="1600" b="1" i="0" dirty="0" smtClean="0">
                        <a:solidFill>
                          <a:srgbClr val="0070C0"/>
                        </a:solidFill>
                      </a:rPr>
                      <m:t> (</m:t>
                    </m:r>
                    <m:r>
                      <m:rPr>
                        <m:nor/>
                      </m:rPr>
                      <a:rPr lang="en-US" sz="1600" b="1" i="0" dirty="0" smtClean="0">
                        <a:solidFill>
                          <a:srgbClr val="0070C0"/>
                        </a:solidFill>
                      </a:rPr>
                      <m:t>internal</m:t>
                    </m:r>
                    <m:r>
                      <m:rPr>
                        <m:nor/>
                      </m:rPr>
                      <a:rPr lang="en-US" sz="1600" b="1" i="0" dirty="0" smtClean="0">
                        <a:solidFill>
                          <a:srgbClr val="0070C0"/>
                        </a:solidFill>
                      </a:rPr>
                      <m:t> </m:t>
                    </m:r>
                    <m:r>
                      <m:rPr>
                        <m:nor/>
                      </m:rPr>
                      <a:rPr lang="en-US" sz="1600" b="1" i="0" dirty="0" smtClean="0">
                        <a:solidFill>
                          <a:srgbClr val="0070C0"/>
                        </a:solidFill>
                      </a:rPr>
                      <m:t>loss</m:t>
                    </m:r>
                    <m:r>
                      <m:rPr>
                        <m:nor/>
                      </m:rPr>
                      <a:rPr lang="en-US" sz="1600" b="1" i="0" dirty="0" smtClean="0">
                        <a:solidFill>
                          <a:srgbClr val="0070C0"/>
                        </a:solidFill>
                      </a:rPr>
                      <m:t> </m:t>
                    </m:r>
                    <m:r>
                      <m:rPr>
                        <m:nor/>
                      </m:rPr>
                      <a:rPr lang="en-US" sz="1600" b="1" i="0" dirty="0" smtClean="0">
                        <a:solidFill>
                          <a:srgbClr val="0070C0"/>
                        </a:solidFill>
                      </a:rPr>
                      <m:t>multiplier</m:t>
                    </m:r>
                    <m:r>
                      <m:rPr>
                        <m:nor/>
                      </m:rPr>
                      <a:rPr lang="en-US" sz="1600" b="1" i="0" dirty="0" smtClean="0">
                        <a:solidFill>
                          <a:srgbClr val="0070C0"/>
                        </a:solidFill>
                      </a:rPr>
                      <m:t>)</m:t>
                    </m:r>
                  </m:oMath>
                </a14:m>
                <a:r>
                  <a:rPr lang="en-US" sz="1600" dirty="0"/>
                  <a:t>, but with a few extensions: :</a:t>
                </a:r>
              </a:p>
              <a:p>
                <a:pPr marL="742950" lvl="1" indent="-285750">
                  <a:buFont typeface="Arial" panose="020B0604020202020204" pitchFamily="34" charset="0"/>
                  <a:buChar char="•"/>
                </a:pPr>
                <a:r>
                  <a:rPr lang="en-US" sz="1600" dirty="0"/>
                  <a:t>Minor adjustments in BI component calculations</a:t>
                </a:r>
              </a:p>
              <a:p>
                <a:pPr marL="742950" lvl="1" indent="-285750">
                  <a:buFont typeface="Arial" panose="020B0604020202020204" pitchFamily="34" charset="0"/>
                  <a:buChar char="•"/>
                </a:pPr>
                <a:r>
                  <a:rPr lang="en-US" sz="1600" dirty="0"/>
                  <a:t>Regulatory constant = 15% differentiated on the scale of the bank: higher the revenue = &gt; bigger the bank =&gt; higher the coefficient </a:t>
                </a:r>
              </a:p>
              <a:p>
                <a:pPr marL="742950" lvl="1" indent="-285750">
                  <a:buFont typeface="Arial" panose="020B0604020202020204" pitchFamily="34" charset="0"/>
                  <a:buChar char="•"/>
                </a:pPr>
                <a:endParaRPr lang="en-US" sz="1600" dirty="0"/>
              </a:p>
              <a:p>
                <a:pPr marL="742950" lvl="1" indent="-285750">
                  <a:buFont typeface="Arial" panose="020B0604020202020204" pitchFamily="34" charset="0"/>
                  <a:buChar char="•"/>
                </a:pPr>
                <a:endParaRPr lang="en-US" sz="1600" dirty="0"/>
              </a:p>
              <a:p>
                <a:pPr marL="742950" lvl="1" indent="-285750">
                  <a:buFont typeface="Arial" panose="020B0604020202020204" pitchFamily="34" charset="0"/>
                  <a:buChar char="•"/>
                </a:pPr>
                <a:endParaRPr lang="en-US" sz="1600" dirty="0"/>
              </a:p>
              <a:p>
                <a:pPr lvl="1"/>
                <a:endParaRPr lang="en-US" sz="1600" dirty="0"/>
              </a:p>
              <a:p>
                <a:pPr marL="742950" lvl="1" indent="-285750">
                  <a:buFont typeface="Arial" panose="020B0604020202020204" pitchFamily="34" charset="0"/>
                  <a:buChar char="•"/>
                </a:pPr>
                <a:endParaRPr lang="en-US" sz="1600" dirty="0"/>
              </a:p>
              <a:p>
                <a:pPr marL="742950" lvl="1" indent="-285750">
                  <a:buFont typeface="Arial" panose="020B0604020202020204" pitchFamily="34" charset="0"/>
                  <a:buChar char="•"/>
                </a:pPr>
                <a:endParaRPr lang="en-US" sz="1600" dirty="0"/>
              </a:p>
              <a:p>
                <a:pPr marL="742950" lvl="1" indent="-285750">
                  <a:buFont typeface="Arial" panose="020B0604020202020204" pitchFamily="34" charset="0"/>
                  <a:buChar char="•"/>
                </a:pPr>
                <a:r>
                  <a:rPr lang="en-US" sz="1600" dirty="0"/>
                  <a:t>ILM  (internal loss multiplier) based on average losses from operational risk registered in the </a:t>
                </a:r>
                <a:r>
                  <a:rPr lang="en-GB" sz="1600" dirty="0"/>
                  <a:t>operational</a:t>
                </a:r>
                <a:r>
                  <a:rPr lang="en-GB" sz="16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 </a:t>
                </a:r>
                <a:r>
                  <a:rPr lang="en-GB" sz="1600" dirty="0"/>
                  <a:t>risk loss database (slide 6)</a:t>
                </a:r>
                <a:r>
                  <a:rPr lang="en-US" sz="1600" dirty="0"/>
                  <a:t>. It is ~100% but may be higher or lower. (In Europe always 100%)</a:t>
                </a:r>
              </a:p>
              <a:p>
                <a:r>
                  <a:rPr lang="en-US" sz="1600" dirty="0"/>
                  <a:t>3. Advanced model approach. Main idea - VAR on factual operational risk realization. It was widespread in Europe and prohibited in Russia. Now is actively being replaced by the Revised Standardized approach in Europe.</a:t>
                </a:r>
              </a:p>
              <a:p>
                <a:pPr marL="285750" indent="-285750">
                  <a:buFont typeface="Arial" panose="020B0604020202020204" pitchFamily="34" charset="0"/>
                  <a:buChar char="•"/>
                </a:pPr>
                <a:endParaRPr lang="en-US" sz="1600" dirty="0"/>
              </a:p>
              <a:p>
                <a:r>
                  <a:rPr lang="en-US" dirty="0"/>
                  <a:t>Metric II – </a:t>
                </a:r>
                <a:r>
                  <a:rPr lang="en-US" b="1" dirty="0"/>
                  <a:t>ECAP (economic capital for ICAAP purposes) for operational risk. </a:t>
                </a:r>
                <a:r>
                  <a:rPr lang="en-US" dirty="0"/>
                  <a:t>The main calculation techniques:</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In Europe often calculated by advanced model approach</a:t>
                </a:r>
              </a:p>
              <a:p>
                <a:pPr marL="285750" indent="-285750">
                  <a:buFont typeface="Arial" panose="020B0604020202020204" pitchFamily="34" charset="0"/>
                  <a:buChar char="•"/>
                </a:pPr>
                <a:r>
                  <a:rPr lang="en-US" sz="1600" dirty="0"/>
                  <a:t>In Russia is often aligned with Standardized or Revised Standardized approach amended by some management adjustments</a:t>
                </a:r>
              </a:p>
              <a:p>
                <a:pPr marL="285750" indent="-285750">
                  <a:buFont typeface="Arial" panose="020B0604020202020204" pitchFamily="34" charset="0"/>
                  <a:buChar char="•"/>
                </a:pPr>
                <a:endParaRPr lang="en-US" sz="1600" dirty="0"/>
              </a:p>
            </p:txBody>
          </p:sp>
        </mc:Choice>
        <mc:Fallback>
          <p:sp>
            <p:nvSpPr>
              <p:cNvPr id="6" name="TextBox 5">
                <a:extLst>
                  <a:ext uri="{FF2B5EF4-FFF2-40B4-BE49-F238E27FC236}">
                    <a16:creationId xmlns:a16="http://schemas.microsoft.com/office/drawing/2014/main" id="{89C5E2C8-0113-4940-5D12-CA6A1E57CC5A}"/>
                  </a:ext>
                </a:extLst>
              </p:cNvPr>
              <p:cNvSpPr txBox="1">
                <a:spLocks noRot="1" noChangeAspect="1" noMove="1" noResize="1" noEditPoints="1" noAdjustHandles="1" noChangeArrowheads="1" noChangeShapeType="1" noTextEdit="1"/>
              </p:cNvSpPr>
              <p:nvPr/>
            </p:nvSpPr>
            <p:spPr>
              <a:xfrm>
                <a:off x="381958" y="690180"/>
                <a:ext cx="11810042" cy="5816977"/>
              </a:xfrm>
              <a:prstGeom prst="rect">
                <a:avLst/>
              </a:prstGeom>
              <a:blipFill>
                <a:blip r:embed="rId2"/>
                <a:stretch>
                  <a:fillRect l="-465" t="-524"/>
                </a:stretch>
              </a:blipFill>
            </p:spPr>
            <p:txBody>
              <a:bodyPr/>
              <a:lstStyle/>
              <a:p>
                <a:r>
                  <a:rPr lang="en-NL">
                    <a:noFill/>
                  </a:rPr>
                  <a:t> </a:t>
                </a:r>
              </a:p>
            </p:txBody>
          </p:sp>
        </mc:Fallback>
      </mc:AlternateContent>
      <p:sp>
        <p:nvSpPr>
          <p:cNvPr id="4" name="TextBox 3">
            <a:extLst>
              <a:ext uri="{FF2B5EF4-FFF2-40B4-BE49-F238E27FC236}">
                <a16:creationId xmlns:a16="http://schemas.microsoft.com/office/drawing/2014/main" id="{5D77D810-4AC7-D87B-BA8E-27877163533D}"/>
              </a:ext>
            </a:extLst>
          </p:cNvPr>
          <p:cNvSpPr txBox="1"/>
          <p:nvPr/>
        </p:nvSpPr>
        <p:spPr>
          <a:xfrm>
            <a:off x="11195824" y="213126"/>
            <a:ext cx="849030" cy="477054"/>
          </a:xfrm>
          <a:prstGeom prst="rect">
            <a:avLst/>
          </a:prstGeom>
          <a:noFill/>
          <a:ln>
            <a:solidFill>
              <a:srgbClr val="FF0000"/>
            </a:solidFill>
          </a:ln>
        </p:spPr>
        <p:txBody>
          <a:bodyPr wrap="square" rtlCol="0">
            <a:spAutoFit/>
          </a:bodyPr>
          <a:lstStyle/>
          <a:p>
            <a:pPr algn="ctr"/>
            <a:r>
              <a:rPr lang="en-US" sz="2500" b="1" dirty="0">
                <a:solidFill>
                  <a:srgbClr val="FF0000"/>
                </a:solidFill>
              </a:rPr>
              <a:t>IE7.1</a:t>
            </a:r>
            <a:endParaRPr lang="ru-RU" sz="2500" b="1" dirty="0">
              <a:solidFill>
                <a:srgbClr val="FF0000"/>
              </a:solidFill>
            </a:endParaRPr>
          </a:p>
        </p:txBody>
      </p:sp>
      <p:sp>
        <p:nvSpPr>
          <p:cNvPr id="9" name="TextBox 8">
            <a:extLst>
              <a:ext uri="{FF2B5EF4-FFF2-40B4-BE49-F238E27FC236}">
                <a16:creationId xmlns:a16="http://schemas.microsoft.com/office/drawing/2014/main" id="{6083F27A-4F85-5E93-FC9F-33E75872D5DC}"/>
              </a:ext>
            </a:extLst>
          </p:cNvPr>
          <p:cNvSpPr txBox="1"/>
          <p:nvPr/>
        </p:nvSpPr>
        <p:spPr>
          <a:xfrm>
            <a:off x="381958" y="6451188"/>
            <a:ext cx="6094520" cy="307777"/>
          </a:xfrm>
          <a:prstGeom prst="rect">
            <a:avLst/>
          </a:prstGeom>
          <a:noFill/>
        </p:spPr>
        <p:txBody>
          <a:bodyPr wrap="square">
            <a:spAutoFit/>
          </a:bodyPr>
          <a:lstStyle/>
          <a:p>
            <a:r>
              <a:rPr lang="en-US" sz="1400" baseline="30000" dirty="0"/>
              <a:t>1</a:t>
            </a:r>
            <a:r>
              <a:rPr lang="nl-NL" sz="1400" dirty="0">
                <a:hlinkClick r:id="rId3"/>
              </a:rPr>
              <a:t>OPE10 - </a:t>
            </a:r>
            <a:r>
              <a:rPr lang="nl-NL" sz="1400" dirty="0" err="1">
                <a:hlinkClick r:id="rId3"/>
              </a:rPr>
              <a:t>Definitions</a:t>
            </a:r>
            <a:r>
              <a:rPr lang="nl-NL" sz="1400" dirty="0">
                <a:hlinkClick r:id="rId3"/>
              </a:rPr>
              <a:t> </a:t>
            </a:r>
            <a:r>
              <a:rPr lang="nl-NL" sz="1400" dirty="0" err="1">
                <a:hlinkClick r:id="rId3"/>
              </a:rPr>
              <a:t>and</a:t>
            </a:r>
            <a:r>
              <a:rPr lang="nl-NL" sz="1400" dirty="0">
                <a:hlinkClick r:id="rId3"/>
              </a:rPr>
              <a:t> </a:t>
            </a:r>
            <a:r>
              <a:rPr lang="nl-NL" sz="1400" dirty="0" err="1">
                <a:hlinkClick r:id="rId3"/>
              </a:rPr>
              <a:t>application</a:t>
            </a:r>
            <a:r>
              <a:rPr lang="nl-NL" sz="1400" dirty="0">
                <a:hlinkClick r:id="rId3"/>
              </a:rPr>
              <a:t> (bis.org)</a:t>
            </a:r>
            <a:endParaRPr lang="en-NL" sz="1400" dirty="0"/>
          </a:p>
        </p:txBody>
      </p:sp>
      <p:pic>
        <p:nvPicPr>
          <p:cNvPr id="11" name="Picture 10">
            <a:extLst>
              <a:ext uri="{FF2B5EF4-FFF2-40B4-BE49-F238E27FC236}">
                <a16:creationId xmlns:a16="http://schemas.microsoft.com/office/drawing/2014/main" id="{BE7E392A-5539-C76C-6E87-043AB7BF1D3A}"/>
              </a:ext>
            </a:extLst>
          </p:cNvPr>
          <p:cNvPicPr>
            <a:picLocks noChangeAspect="1"/>
          </p:cNvPicPr>
          <p:nvPr/>
        </p:nvPicPr>
        <p:blipFill>
          <a:blip r:embed="rId4"/>
          <a:stretch>
            <a:fillRect/>
          </a:stretch>
        </p:blipFill>
        <p:spPr>
          <a:xfrm>
            <a:off x="1179107" y="2625088"/>
            <a:ext cx="3398018" cy="1098029"/>
          </a:xfrm>
          <a:prstGeom prst="rect">
            <a:avLst/>
          </a:prstGeom>
        </p:spPr>
      </p:pic>
    </p:spTree>
    <p:extLst>
      <p:ext uri="{BB962C8B-B14F-4D97-AF65-F5344CB8AC3E}">
        <p14:creationId xmlns:p14="http://schemas.microsoft.com/office/powerpoint/2010/main" val="9195932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latin typeface="Arial" panose="020B0604020202020204" pitchFamily="34" charset="0"/>
                <a:cs typeface="Arial" panose="020B0604020202020204" pitchFamily="34" charset="0"/>
              </a:rPr>
              <a:t>8</a:t>
            </a:fld>
            <a:endParaRPr lang="en-US"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Capital adequacy ratio</a:t>
            </a:r>
            <a:r>
              <a:rPr lang="en-US" altLang="zh-CN" sz="2500" b="1" kern="0" baseline="3000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1</a:t>
            </a:r>
            <a:endParaRPr lang="ru-RU" altLang="zh-CN" sz="2500" kern="0" baseline="3000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11" name="Rectangle 54"/>
          <p:cNvSpPr/>
          <p:nvPr/>
        </p:nvSpPr>
        <p:spPr bwMode="ltGray">
          <a:xfrm>
            <a:off x="8277224" y="736353"/>
            <a:ext cx="3035265" cy="2568321"/>
          </a:xfrm>
          <a:prstGeom prst="rect">
            <a:avLst/>
          </a:prstGeom>
          <a:noFill/>
          <a:ln>
            <a:solidFill>
              <a:schemeClr val="tx1"/>
            </a:solidFill>
          </a:ln>
          <a:effectLst/>
        </p:spPr>
        <p:style>
          <a:lnRef idx="3">
            <a:schemeClr val="lt1"/>
          </a:lnRef>
          <a:fillRef idx="1">
            <a:schemeClr val="accent6"/>
          </a:fillRef>
          <a:effectRef idx="1">
            <a:schemeClr val="accent6"/>
          </a:effectRef>
          <a:fontRef idx="minor">
            <a:schemeClr val="lt1"/>
          </a:fontRef>
        </p:style>
        <p:txBody>
          <a:bodyPr lIns="104306" tIns="52153" rIns="104306" bIns="52153" rtlCol="0" anchor="ctr"/>
          <a:lstStyle/>
          <a:p>
            <a:r>
              <a:rPr lang="en-US" sz="1600" dirty="0">
                <a:solidFill>
                  <a:schemeClr val="tx1"/>
                </a:solidFill>
                <a:latin typeface="Arial" panose="020B0604020202020204" pitchFamily="34" charset="0"/>
                <a:cs typeface="Arial" panose="020B0604020202020204" pitchFamily="34" charset="0"/>
              </a:rPr>
              <a:t>Allowances used to regulate dividends:</a:t>
            </a:r>
          </a:p>
          <a:p>
            <a:pPr marL="285750"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Maintaining capital adequacy = 2.5%</a:t>
            </a:r>
          </a:p>
          <a:p>
            <a:pPr marL="285750"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Countercyclical buffer = 0%</a:t>
            </a:r>
          </a:p>
          <a:p>
            <a:pPr marL="285750"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Systematically important banks =1%</a:t>
            </a:r>
          </a:p>
        </p:txBody>
      </p:sp>
      <p:sp>
        <p:nvSpPr>
          <p:cNvPr id="57" name="Плюс 56"/>
          <p:cNvSpPr/>
          <p:nvPr/>
        </p:nvSpPr>
        <p:spPr>
          <a:xfrm>
            <a:off x="7635487" y="1828899"/>
            <a:ext cx="429403" cy="462488"/>
          </a:xfrm>
          <a:prstGeom prst="mathPlus">
            <a:avLst/>
          </a:prstGeom>
          <a:solidFill>
            <a:schemeClr val="accent5">
              <a:lumMod val="5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002060"/>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BE9E2E62-29BB-86F6-83D5-BAB5EC1ED7FB}"/>
              </a:ext>
            </a:extLst>
          </p:cNvPr>
          <p:cNvSpPr txBox="1"/>
          <p:nvPr/>
        </p:nvSpPr>
        <p:spPr>
          <a:xfrm>
            <a:off x="11195824" y="213126"/>
            <a:ext cx="849030" cy="477054"/>
          </a:xfrm>
          <a:prstGeom prst="rect">
            <a:avLst/>
          </a:prstGeom>
          <a:noFill/>
          <a:ln>
            <a:solidFill>
              <a:srgbClr val="FF0000"/>
            </a:solidFill>
          </a:ln>
        </p:spPr>
        <p:txBody>
          <a:bodyPr wrap="square" rtlCol="0">
            <a:spAutoFit/>
          </a:bodyPr>
          <a:lstStyle/>
          <a:p>
            <a:pPr algn="ctr"/>
            <a:r>
              <a:rPr lang="en-US" sz="2500" b="1">
                <a:solidFill>
                  <a:srgbClr val="FF0000"/>
                </a:solidFill>
              </a:rPr>
              <a:t>IE2.2</a:t>
            </a:r>
            <a:endParaRPr lang="ru-RU" sz="2500" b="1" dirty="0">
              <a:solidFill>
                <a:srgbClr val="FF0000"/>
              </a:solidFill>
            </a:endParaRPr>
          </a:p>
        </p:txBody>
      </p:sp>
      <p:pic>
        <p:nvPicPr>
          <p:cNvPr id="15" name="Picture 14">
            <a:extLst>
              <a:ext uri="{FF2B5EF4-FFF2-40B4-BE49-F238E27FC236}">
                <a16:creationId xmlns:a16="http://schemas.microsoft.com/office/drawing/2014/main" id="{E9083D26-A0E5-93E8-7041-AAC5B0626163}"/>
              </a:ext>
            </a:extLst>
          </p:cNvPr>
          <p:cNvPicPr>
            <a:picLocks noChangeAspect="1"/>
          </p:cNvPicPr>
          <p:nvPr/>
        </p:nvPicPr>
        <p:blipFill>
          <a:blip r:embed="rId2"/>
          <a:stretch>
            <a:fillRect/>
          </a:stretch>
        </p:blipFill>
        <p:spPr>
          <a:xfrm>
            <a:off x="6487553" y="3530631"/>
            <a:ext cx="3425239" cy="3128189"/>
          </a:xfrm>
          <a:prstGeom prst="rect">
            <a:avLst/>
          </a:prstGeom>
        </p:spPr>
      </p:pic>
      <p:sp>
        <p:nvSpPr>
          <p:cNvPr id="25" name="TextBox 24">
            <a:extLst>
              <a:ext uri="{FF2B5EF4-FFF2-40B4-BE49-F238E27FC236}">
                <a16:creationId xmlns:a16="http://schemas.microsoft.com/office/drawing/2014/main" id="{233E6AE9-9F2E-2A6D-07C6-3F2298D3D863}"/>
              </a:ext>
            </a:extLst>
          </p:cNvPr>
          <p:cNvSpPr txBox="1"/>
          <p:nvPr/>
        </p:nvSpPr>
        <p:spPr>
          <a:xfrm>
            <a:off x="381958" y="6275542"/>
            <a:ext cx="6094602" cy="400110"/>
          </a:xfrm>
          <a:prstGeom prst="rect">
            <a:avLst/>
          </a:prstGeom>
          <a:noFill/>
        </p:spPr>
        <p:txBody>
          <a:bodyPr wrap="square">
            <a:spAutoFit/>
          </a:bodyPr>
          <a:lstStyle/>
          <a:p>
            <a:r>
              <a:rPr lang="en-US" altLang="zh-CN" sz="1000" b="1" kern="0" baseline="30000" dirty="0">
                <a:latin typeface="SB Sans Display" panose="020B0503040504020204" pitchFamily="34" charset="0"/>
                <a:ea typeface="等线" panose="02010600030101010101" pitchFamily="2" charset="-122"/>
                <a:cs typeface="SB Sans Display" panose="020B0503040504020204" pitchFamily="34" charset="0"/>
              </a:rPr>
              <a:t>1</a:t>
            </a:r>
            <a:r>
              <a:rPr lang="en-GB" sz="1000" dirty="0"/>
              <a:t>https://www.bis.org/fsi/fsisummaries/defcap_b3.pdf</a:t>
            </a:r>
          </a:p>
          <a:p>
            <a:r>
              <a:rPr lang="en-GB" sz="1000" dirty="0"/>
              <a:t>Criteria mentioned in the table above - </a:t>
            </a:r>
            <a:r>
              <a:rPr lang="en-GB" sz="1000" dirty="0">
                <a:hlinkClick r:id="rId3"/>
              </a:rPr>
              <a:t>https://www.bis.org/publ/bcbs189.pdf</a:t>
            </a:r>
            <a:r>
              <a:rPr lang="en-GB" sz="1000" dirty="0"/>
              <a:t> and 199-</a:t>
            </a:r>
            <a:r>
              <a:rPr lang="ru-RU" sz="1000" dirty="0"/>
              <a:t>И </a:t>
            </a:r>
            <a:r>
              <a:rPr lang="en-GB" sz="1000" dirty="0"/>
              <a:t>for Russian specifics</a:t>
            </a:r>
          </a:p>
        </p:txBody>
      </p:sp>
      <mc:AlternateContent xmlns:mc="http://schemas.openxmlformats.org/markup-compatibility/2006" xmlns:a14="http://schemas.microsoft.com/office/drawing/2010/main">
        <mc:Choice Requires="a14">
          <p:graphicFrame>
            <p:nvGraphicFramePr>
              <p:cNvPr id="28" name="Table 28">
                <a:extLst>
                  <a:ext uri="{FF2B5EF4-FFF2-40B4-BE49-F238E27FC236}">
                    <a16:creationId xmlns:a16="http://schemas.microsoft.com/office/drawing/2014/main" id="{359E8F47-5F85-8023-E25F-7FE8315282EC}"/>
                  </a:ext>
                </a:extLst>
              </p:cNvPr>
              <p:cNvGraphicFramePr>
                <a:graphicFrameLocks noGrp="1"/>
              </p:cNvGraphicFramePr>
              <p:nvPr/>
            </p:nvGraphicFramePr>
            <p:xfrm>
              <a:off x="381958" y="736353"/>
              <a:ext cx="7041195" cy="2568321"/>
            </p:xfrm>
            <a:graphic>
              <a:graphicData uri="http://schemas.openxmlformats.org/drawingml/2006/table">
                <a:tbl>
                  <a:tblPr firstRow="1" bandRow="1">
                    <a:tableStyleId>{5C22544A-7EE6-4342-B048-85BDC9FD1C3A}</a:tableStyleId>
                  </a:tblPr>
                  <a:tblGrid>
                    <a:gridCol w="940135">
                      <a:extLst>
                        <a:ext uri="{9D8B030D-6E8A-4147-A177-3AD203B41FA5}">
                          <a16:colId xmlns:a16="http://schemas.microsoft.com/office/drawing/2014/main" val="3783892192"/>
                        </a:ext>
                      </a:extLst>
                    </a:gridCol>
                    <a:gridCol w="1000283">
                      <a:extLst>
                        <a:ext uri="{9D8B030D-6E8A-4147-A177-3AD203B41FA5}">
                          <a16:colId xmlns:a16="http://schemas.microsoft.com/office/drawing/2014/main" val="586691130"/>
                        </a:ext>
                      </a:extLst>
                    </a:gridCol>
                    <a:gridCol w="3478349">
                      <a:extLst>
                        <a:ext uri="{9D8B030D-6E8A-4147-A177-3AD203B41FA5}">
                          <a16:colId xmlns:a16="http://schemas.microsoft.com/office/drawing/2014/main" val="4019151803"/>
                        </a:ext>
                      </a:extLst>
                    </a:gridCol>
                    <a:gridCol w="1622428">
                      <a:extLst>
                        <a:ext uri="{9D8B030D-6E8A-4147-A177-3AD203B41FA5}">
                          <a16:colId xmlns:a16="http://schemas.microsoft.com/office/drawing/2014/main" val="1567857674"/>
                        </a:ext>
                      </a:extLst>
                    </a:gridCol>
                  </a:tblGrid>
                  <a:tr h="885317">
                    <a:tc rowSpan="2">
                      <a:txBody>
                        <a:bodyPr/>
                        <a:lstStyle/>
                        <a:p>
                          <a:r>
                            <a:rPr lang="en-GB" sz="1200" b="1" dirty="0">
                              <a:solidFill>
                                <a:schemeClr val="tx1"/>
                              </a:solidFill>
                              <a:latin typeface="Arial" panose="020B0604020202020204" pitchFamily="34" charset="0"/>
                              <a:cs typeface="Arial" panose="020B0604020202020204" pitchFamily="34" charset="0"/>
                            </a:rPr>
                            <a:t>Tier 1 (going concer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200" b="1" dirty="0">
                              <a:solidFill>
                                <a:schemeClr val="tx1"/>
                              </a:solidFill>
                              <a:latin typeface="Arial" panose="020B0604020202020204" pitchFamily="34" charset="0"/>
                              <a:cs typeface="Arial" panose="020B0604020202020204" pitchFamily="34" charset="0"/>
                            </a:rPr>
                            <a:t>Common Equity Tier 1 (CE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200" b="0" dirty="0">
                              <a:solidFill>
                                <a:schemeClr val="tx1"/>
                              </a:solidFill>
                              <a:latin typeface="Arial" panose="020B0604020202020204" pitchFamily="34" charset="0"/>
                              <a:cs typeface="Arial" panose="020B0604020202020204" pitchFamily="34" charset="0"/>
                            </a:rPr>
                            <a:t>Sum of common shares (equivalent for non-joint stock companies* ) and stock surplus, retained earnings, other comprehensive income, qualifying minority interest and regulatory adjust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ru-RU" sz="1200" b="0" dirty="0">
                              <a:solidFill>
                                <a:schemeClr val="tx1"/>
                              </a:solidFill>
                              <a:latin typeface="Arial" panose="020B0604020202020204" pitchFamily="34" charset="0"/>
                              <a:cs typeface="Arial" panose="020B0604020202020204" pitchFamily="34" charset="0"/>
                            </a:rPr>
                            <a:t>(Н1.1)</a:t>
                          </a:r>
                          <a:endParaRPr lang="en-GB" sz="1200" b="0" dirty="0">
                            <a:solidFill>
                              <a:schemeClr val="tx1"/>
                            </a:solidFill>
                            <a:latin typeface="Arial" panose="020B0604020202020204" pitchFamily="34" charset="0"/>
                            <a:cs typeface="Arial" panose="020B0604020202020204" pitchFamily="34" charset="0"/>
                          </a:endParaRPr>
                        </a:p>
                        <a:p>
                          <a:endParaRPr lang="ru-RU" sz="1200" b="0" dirty="0">
                            <a:solidFill>
                              <a:schemeClr val="tx1"/>
                            </a:solidFill>
                            <a:latin typeface="Arial" panose="020B0604020202020204" pitchFamily="34" charset="0"/>
                            <a:cs typeface="Arial" panose="020B0604020202020204" pitchFamily="34" charset="0"/>
                          </a:endParaRPr>
                        </a:p>
                        <a:p>
                          <a14:m>
                            <m:oMath xmlns:m="http://schemas.openxmlformats.org/officeDocument/2006/math">
                              <m:f>
                                <m:fPr>
                                  <m:ctrlPr>
                                    <a:rPr lang="en-GB" sz="1300" b="0" i="1" dirty="0" smtClean="0">
                                      <a:solidFill>
                                        <a:schemeClr val="tx1"/>
                                      </a:solidFill>
                                      <a:latin typeface="Cambria Math" panose="02040503050406030204" pitchFamily="18" charset="0"/>
                                      <a:cs typeface="Arial" panose="020B0604020202020204" pitchFamily="34" charset="0"/>
                                    </a:rPr>
                                  </m:ctrlPr>
                                </m:fPr>
                                <m:num>
                                  <m:r>
                                    <a:rPr lang="en-GB" sz="1300" b="0" i="1" dirty="0" smtClean="0">
                                      <a:solidFill>
                                        <a:schemeClr val="tx1"/>
                                      </a:solidFill>
                                      <a:latin typeface="Cambria Math" panose="02040503050406030204" pitchFamily="18" charset="0"/>
                                      <a:cs typeface="Arial" panose="020B0604020202020204" pitchFamily="34" charset="0"/>
                                    </a:rPr>
                                    <m:t>𝐶𝐸𝑇</m:t>
                                  </m:r>
                                  <m:r>
                                    <a:rPr lang="en-GB" sz="1300" b="0" i="1" dirty="0" smtClean="0">
                                      <a:solidFill>
                                        <a:schemeClr val="tx1"/>
                                      </a:solidFill>
                                      <a:latin typeface="Cambria Math" panose="02040503050406030204" pitchFamily="18" charset="0"/>
                                      <a:cs typeface="Arial" panose="020B0604020202020204" pitchFamily="34" charset="0"/>
                                    </a:rPr>
                                    <m:t> 1</m:t>
                                  </m:r>
                                </m:num>
                                <m:den>
                                  <m:r>
                                    <a:rPr lang="en-GB" sz="1300" b="0" i="1" dirty="0" smtClean="0">
                                      <a:solidFill>
                                        <a:schemeClr val="tx1"/>
                                      </a:solidFill>
                                      <a:latin typeface="Cambria Math" panose="02040503050406030204" pitchFamily="18" charset="0"/>
                                      <a:cs typeface="Arial" panose="020B0604020202020204" pitchFamily="34" charset="0"/>
                                    </a:rPr>
                                    <m:t>𝑅𝑊𝐴</m:t>
                                  </m:r>
                                </m:den>
                              </m:f>
                            </m:oMath>
                          </a14:m>
                          <a:r>
                            <a:rPr lang="en-GB" sz="1200" b="0" dirty="0">
                              <a:solidFill>
                                <a:schemeClr val="tx1"/>
                              </a:solidFill>
                              <a:latin typeface="Arial" panose="020B0604020202020204" pitchFamily="34" charset="0"/>
                              <a:cs typeface="Arial" panose="020B0604020202020204" pitchFamily="34" charset="0"/>
                            </a:rPr>
                            <a:t> &gt; 4.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35638700"/>
                      </a:ext>
                    </a:extLst>
                  </a:tr>
                  <a:tr h="724350">
                    <a:tc vMerge="1">
                      <a:txBody>
                        <a:bodyPr/>
                        <a:lstStyle/>
                        <a:p>
                          <a:endParaRPr lang="en-GB" dirty="0"/>
                        </a:p>
                      </a:txBody>
                      <a:tcPr/>
                    </a:tc>
                    <a:tc>
                      <a:txBody>
                        <a:bodyPr/>
                        <a:lstStyle/>
                        <a:p>
                          <a:r>
                            <a:rPr lang="en-GB" sz="1200" b="1" dirty="0">
                              <a:solidFill>
                                <a:schemeClr val="tx1"/>
                              </a:solidFill>
                              <a:latin typeface="Arial" panose="020B0604020202020204" pitchFamily="34" charset="0"/>
                              <a:cs typeface="Arial" panose="020B0604020202020204" pitchFamily="34" charset="0"/>
                            </a:rPr>
                            <a:t>Additional Tier 1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200" b="0" dirty="0">
                              <a:solidFill>
                                <a:schemeClr val="tx1"/>
                              </a:solidFill>
                              <a:latin typeface="Arial" panose="020B0604020202020204" pitchFamily="34" charset="0"/>
                              <a:cs typeface="Arial" panose="020B0604020202020204" pitchFamily="34" charset="0"/>
                            </a:rPr>
                            <a:t>Sum of capital instruments meeting the criteria for AT1 and related surplus, additional qualifying minority interest and regulatory adjust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ru-RU" sz="1200" b="0" dirty="0">
                              <a:solidFill>
                                <a:schemeClr val="tx1"/>
                              </a:solidFill>
                              <a:latin typeface="Arial" panose="020B0604020202020204" pitchFamily="34" charset="0"/>
                              <a:cs typeface="Arial" panose="020B0604020202020204" pitchFamily="34" charset="0"/>
                            </a:rPr>
                            <a:t>(Н1.2) </a:t>
                          </a:r>
                          <a:endParaRPr lang="en-GB" sz="1200" b="0" dirty="0">
                            <a:solidFill>
                              <a:schemeClr val="tx1"/>
                            </a:solidFill>
                            <a:latin typeface="Arial" panose="020B0604020202020204" pitchFamily="34" charset="0"/>
                            <a:cs typeface="Arial" panose="020B0604020202020204" pitchFamily="34" charset="0"/>
                          </a:endParaRPr>
                        </a:p>
                        <a:p>
                          <a:endParaRPr lang="en-GB" sz="1200" b="0" dirty="0">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f>
                                <m:fPr>
                                  <m:ctrlPr>
                                    <a:rPr lang="en-GB" sz="1300" b="0" i="1" dirty="0" smtClean="0">
                                      <a:solidFill>
                                        <a:schemeClr val="tx1"/>
                                      </a:solidFill>
                                      <a:latin typeface="Cambria Math" panose="02040503050406030204" pitchFamily="18" charset="0"/>
                                      <a:cs typeface="Arial" panose="020B0604020202020204" pitchFamily="34" charset="0"/>
                                    </a:rPr>
                                  </m:ctrlPr>
                                </m:fPr>
                                <m:num>
                                  <m:r>
                                    <a:rPr lang="en-GB" sz="1300" b="0" i="1" dirty="0" smtClean="0">
                                      <a:solidFill>
                                        <a:schemeClr val="tx1"/>
                                      </a:solidFill>
                                      <a:latin typeface="Cambria Math" panose="02040503050406030204" pitchFamily="18" charset="0"/>
                                      <a:cs typeface="Arial" panose="020B0604020202020204" pitchFamily="34" charset="0"/>
                                    </a:rPr>
                                    <m:t>𝐶𝐸𝑇</m:t>
                                  </m:r>
                                  <m:r>
                                    <a:rPr lang="en-GB" sz="1300" b="0" i="1" dirty="0" smtClean="0">
                                      <a:solidFill>
                                        <a:schemeClr val="tx1"/>
                                      </a:solidFill>
                                      <a:latin typeface="Cambria Math" panose="02040503050406030204" pitchFamily="18" charset="0"/>
                                      <a:cs typeface="Arial" panose="020B0604020202020204" pitchFamily="34" charset="0"/>
                                    </a:rPr>
                                    <m:t> 1+</m:t>
                                  </m:r>
                                  <m:r>
                                    <a:rPr lang="en-GB" sz="1300" b="0" i="1" dirty="0" smtClean="0">
                                      <a:solidFill>
                                        <a:schemeClr val="tx1"/>
                                      </a:solidFill>
                                      <a:latin typeface="Cambria Math" panose="02040503050406030204" pitchFamily="18" charset="0"/>
                                      <a:cs typeface="Arial" panose="020B0604020202020204" pitchFamily="34" charset="0"/>
                                    </a:rPr>
                                    <m:t>𝐴𝑇</m:t>
                                  </m:r>
                                  <m:r>
                                    <a:rPr lang="en-GB" sz="1300" b="0" i="1" dirty="0" smtClean="0">
                                      <a:solidFill>
                                        <a:schemeClr val="tx1"/>
                                      </a:solidFill>
                                      <a:latin typeface="Cambria Math" panose="02040503050406030204" pitchFamily="18" charset="0"/>
                                      <a:cs typeface="Arial" panose="020B0604020202020204" pitchFamily="34" charset="0"/>
                                    </a:rPr>
                                    <m:t>1</m:t>
                                  </m:r>
                                </m:num>
                                <m:den>
                                  <m:r>
                                    <a:rPr lang="en-GB" sz="1300" b="0" i="1" dirty="0" smtClean="0">
                                      <a:solidFill>
                                        <a:schemeClr val="tx1"/>
                                      </a:solidFill>
                                      <a:latin typeface="Cambria Math" panose="02040503050406030204" pitchFamily="18" charset="0"/>
                                      <a:cs typeface="Arial" panose="020B0604020202020204" pitchFamily="34" charset="0"/>
                                    </a:rPr>
                                    <m:t>𝑅𝑊𝐴</m:t>
                                  </m:r>
                                </m:den>
                              </m:f>
                            </m:oMath>
                          </a14:m>
                          <a:r>
                            <a:rPr lang="en-GB" sz="1300" b="0" dirty="0">
                              <a:solidFill>
                                <a:schemeClr val="tx1"/>
                              </a:solidFill>
                              <a:latin typeface="Arial" panose="020B0604020202020204" pitchFamily="34" charset="0"/>
                              <a:cs typeface="Arial" panose="020B0604020202020204" pitchFamily="34" charset="0"/>
                            </a:rPr>
                            <a:t> </a:t>
                          </a:r>
                          <a:r>
                            <a:rPr lang="en-GB" sz="1200" b="0" dirty="0">
                              <a:solidFill>
                                <a:schemeClr val="tx1"/>
                              </a:solidFill>
                              <a:latin typeface="Arial" panose="020B0604020202020204" pitchFamily="34" charset="0"/>
                              <a:cs typeface="Arial" panose="020B0604020202020204" pitchFamily="34" charset="0"/>
                            </a:rPr>
                            <a:t>&gt; 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7582578"/>
                      </a:ext>
                    </a:extLst>
                  </a:tr>
                  <a:tr h="724350">
                    <a:tc>
                      <a:txBody>
                        <a:bodyPr/>
                        <a:lstStyle/>
                        <a:p>
                          <a:r>
                            <a:rPr lang="en-GB" sz="1200" b="1" dirty="0">
                              <a:solidFill>
                                <a:schemeClr val="tx1"/>
                              </a:solidFill>
                              <a:latin typeface="Arial" panose="020B0604020202020204" pitchFamily="34" charset="0"/>
                              <a:cs typeface="Arial" panose="020B0604020202020204" pitchFamily="34" charset="0"/>
                            </a:rPr>
                            <a:t>Tier 2 (gone concer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12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200" b="0" dirty="0">
                              <a:solidFill>
                                <a:schemeClr val="tx1"/>
                              </a:solidFill>
                              <a:latin typeface="Arial" panose="020B0604020202020204" pitchFamily="34" charset="0"/>
                              <a:cs typeface="Arial" panose="020B0604020202020204" pitchFamily="34" charset="0"/>
                            </a:rPr>
                            <a:t>Sum of capital instruments meeting the criteria for Tier 2 and related surplus, additional qualifying minority interest, qualifying loan loss provisions and regulatory adjust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ru-RU" sz="1200" b="0" dirty="0">
                              <a:solidFill>
                                <a:schemeClr val="tx1"/>
                              </a:solidFill>
                              <a:latin typeface="Arial" panose="020B0604020202020204" pitchFamily="34" charset="0"/>
                              <a:cs typeface="Arial" panose="020B0604020202020204" pitchFamily="34" charset="0"/>
                            </a:rPr>
                            <a:t>(Н1.0) </a:t>
                          </a:r>
                        </a:p>
                        <a:p>
                          <a:pPr marL="0" marR="0" lvl="0" indent="0" algn="l"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f>
                                <m:fPr>
                                  <m:ctrlPr>
                                    <a:rPr lang="en-GB" sz="1300" b="0" i="1" dirty="0" smtClean="0">
                                      <a:solidFill>
                                        <a:schemeClr val="tx1"/>
                                      </a:solidFill>
                                      <a:latin typeface="Cambria Math" panose="02040503050406030204" pitchFamily="18" charset="0"/>
                                      <a:cs typeface="Arial" panose="020B0604020202020204" pitchFamily="34" charset="0"/>
                                    </a:rPr>
                                  </m:ctrlPr>
                                </m:fPr>
                                <m:num>
                                  <m:r>
                                    <a:rPr lang="en-GB" sz="1300" b="0" i="1" dirty="0" smtClean="0">
                                      <a:solidFill>
                                        <a:schemeClr val="tx1"/>
                                      </a:solidFill>
                                      <a:latin typeface="Cambria Math" panose="02040503050406030204" pitchFamily="18" charset="0"/>
                                      <a:cs typeface="Arial" panose="020B0604020202020204" pitchFamily="34" charset="0"/>
                                    </a:rPr>
                                    <m:t>𝐶𝐸𝑇</m:t>
                                  </m:r>
                                  <m:r>
                                    <a:rPr lang="en-GB" sz="1300" b="0" i="1" dirty="0" smtClean="0">
                                      <a:solidFill>
                                        <a:schemeClr val="tx1"/>
                                      </a:solidFill>
                                      <a:latin typeface="Cambria Math" panose="02040503050406030204" pitchFamily="18" charset="0"/>
                                      <a:cs typeface="Arial" panose="020B0604020202020204" pitchFamily="34" charset="0"/>
                                    </a:rPr>
                                    <m:t> 1+</m:t>
                                  </m:r>
                                  <m:r>
                                    <a:rPr lang="en-GB" sz="1300" b="0" i="1" dirty="0" smtClean="0">
                                      <a:solidFill>
                                        <a:schemeClr val="tx1"/>
                                      </a:solidFill>
                                      <a:latin typeface="Cambria Math" panose="02040503050406030204" pitchFamily="18" charset="0"/>
                                      <a:cs typeface="Arial" panose="020B0604020202020204" pitchFamily="34" charset="0"/>
                                    </a:rPr>
                                    <m:t>𝐴𝑇</m:t>
                                  </m:r>
                                  <m:r>
                                    <a:rPr lang="en-GB" sz="1300" b="0" i="1" dirty="0" smtClean="0">
                                      <a:solidFill>
                                        <a:schemeClr val="tx1"/>
                                      </a:solidFill>
                                      <a:latin typeface="Cambria Math" panose="02040503050406030204" pitchFamily="18" charset="0"/>
                                      <a:cs typeface="Arial" panose="020B0604020202020204" pitchFamily="34" charset="0"/>
                                    </a:rPr>
                                    <m:t>1+</m:t>
                                  </m:r>
                                  <m:r>
                                    <a:rPr lang="en-GB" sz="1300" b="0" i="1" dirty="0" smtClean="0">
                                      <a:solidFill>
                                        <a:schemeClr val="tx1"/>
                                      </a:solidFill>
                                      <a:latin typeface="Cambria Math" panose="02040503050406030204" pitchFamily="18" charset="0"/>
                                      <a:cs typeface="Arial" panose="020B0604020202020204" pitchFamily="34" charset="0"/>
                                    </a:rPr>
                                    <m:t>𝑇𝑖𝑒𝑟</m:t>
                                  </m:r>
                                  <m:r>
                                    <a:rPr lang="en-GB" sz="1300" b="0" i="1" dirty="0" smtClean="0">
                                      <a:solidFill>
                                        <a:schemeClr val="tx1"/>
                                      </a:solidFill>
                                      <a:latin typeface="Cambria Math" panose="02040503050406030204" pitchFamily="18" charset="0"/>
                                      <a:cs typeface="Arial" panose="020B0604020202020204" pitchFamily="34" charset="0"/>
                                    </a:rPr>
                                    <m:t> 2</m:t>
                                  </m:r>
                                </m:num>
                                <m:den>
                                  <m:r>
                                    <a:rPr lang="en-GB" sz="1300" b="0" i="1" dirty="0" smtClean="0">
                                      <a:solidFill>
                                        <a:schemeClr val="tx1"/>
                                      </a:solidFill>
                                      <a:latin typeface="Cambria Math" panose="02040503050406030204" pitchFamily="18" charset="0"/>
                                      <a:cs typeface="Arial" panose="020B0604020202020204" pitchFamily="34" charset="0"/>
                                    </a:rPr>
                                    <m:t>𝑅𝑊𝐴</m:t>
                                  </m:r>
                                </m:den>
                              </m:f>
                            </m:oMath>
                          </a14:m>
                          <a:r>
                            <a:rPr lang="en-GB" sz="1200" b="0" dirty="0">
                              <a:solidFill>
                                <a:schemeClr val="tx1"/>
                              </a:solidFill>
                              <a:latin typeface="Arial" panose="020B0604020202020204" pitchFamily="34" charset="0"/>
                              <a:cs typeface="Arial" panose="020B0604020202020204" pitchFamily="34" charset="0"/>
                            </a:rPr>
                            <a:t>&gt; 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09061230"/>
                      </a:ext>
                    </a:extLst>
                  </a:tr>
                </a:tbl>
              </a:graphicData>
            </a:graphic>
          </p:graphicFrame>
        </mc:Choice>
        <mc:Fallback xmlns="">
          <p:graphicFrame>
            <p:nvGraphicFramePr>
              <p:cNvPr id="28" name="Table 28">
                <a:extLst>
                  <a:ext uri="{FF2B5EF4-FFF2-40B4-BE49-F238E27FC236}">
                    <a16:creationId xmlns:a16="http://schemas.microsoft.com/office/drawing/2014/main" id="{359E8F47-5F85-8023-E25F-7FE8315282EC}"/>
                  </a:ext>
                </a:extLst>
              </p:cNvPr>
              <p:cNvGraphicFramePr>
                <a:graphicFrameLocks noGrp="1"/>
              </p:cNvGraphicFramePr>
              <p:nvPr>
                <p:extLst>
                  <p:ext uri="{D42A27DB-BD31-4B8C-83A1-F6EECF244321}">
                    <p14:modId xmlns:p14="http://schemas.microsoft.com/office/powerpoint/2010/main" val="2768044241"/>
                  </p:ext>
                </p:extLst>
              </p:nvPr>
            </p:nvGraphicFramePr>
            <p:xfrm>
              <a:off x="381958" y="736353"/>
              <a:ext cx="7041195" cy="2568321"/>
            </p:xfrm>
            <a:graphic>
              <a:graphicData uri="http://schemas.openxmlformats.org/drawingml/2006/table">
                <a:tbl>
                  <a:tblPr firstRow="1" bandRow="1">
                    <a:tableStyleId>{5C22544A-7EE6-4342-B048-85BDC9FD1C3A}</a:tableStyleId>
                  </a:tblPr>
                  <a:tblGrid>
                    <a:gridCol w="940135">
                      <a:extLst>
                        <a:ext uri="{9D8B030D-6E8A-4147-A177-3AD203B41FA5}">
                          <a16:colId xmlns:a16="http://schemas.microsoft.com/office/drawing/2014/main" val="3783892192"/>
                        </a:ext>
                      </a:extLst>
                    </a:gridCol>
                    <a:gridCol w="1000283">
                      <a:extLst>
                        <a:ext uri="{9D8B030D-6E8A-4147-A177-3AD203B41FA5}">
                          <a16:colId xmlns:a16="http://schemas.microsoft.com/office/drawing/2014/main" val="586691130"/>
                        </a:ext>
                      </a:extLst>
                    </a:gridCol>
                    <a:gridCol w="3478349">
                      <a:extLst>
                        <a:ext uri="{9D8B030D-6E8A-4147-A177-3AD203B41FA5}">
                          <a16:colId xmlns:a16="http://schemas.microsoft.com/office/drawing/2014/main" val="4019151803"/>
                        </a:ext>
                      </a:extLst>
                    </a:gridCol>
                    <a:gridCol w="1622428">
                      <a:extLst>
                        <a:ext uri="{9D8B030D-6E8A-4147-A177-3AD203B41FA5}">
                          <a16:colId xmlns:a16="http://schemas.microsoft.com/office/drawing/2014/main" val="1567857674"/>
                        </a:ext>
                      </a:extLst>
                    </a:gridCol>
                  </a:tblGrid>
                  <a:tr h="1005840">
                    <a:tc rowSpan="2">
                      <a:txBody>
                        <a:bodyPr/>
                        <a:lstStyle/>
                        <a:p>
                          <a:r>
                            <a:rPr lang="en-GB" sz="1200" b="1" dirty="0">
                              <a:solidFill>
                                <a:schemeClr val="tx1"/>
                              </a:solidFill>
                              <a:latin typeface="Arial" panose="020B0604020202020204" pitchFamily="34" charset="0"/>
                              <a:cs typeface="Arial" panose="020B0604020202020204" pitchFamily="34" charset="0"/>
                            </a:rPr>
                            <a:t>Tier 1 (going concer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200" b="1" dirty="0">
                              <a:solidFill>
                                <a:schemeClr val="tx1"/>
                              </a:solidFill>
                              <a:latin typeface="Arial" panose="020B0604020202020204" pitchFamily="34" charset="0"/>
                              <a:cs typeface="Arial" panose="020B0604020202020204" pitchFamily="34" charset="0"/>
                            </a:rPr>
                            <a:t>Common Equity Tier 1 (CE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200" b="0" dirty="0">
                              <a:solidFill>
                                <a:schemeClr val="tx1"/>
                              </a:solidFill>
                              <a:latin typeface="Arial" panose="020B0604020202020204" pitchFamily="34" charset="0"/>
                              <a:cs typeface="Arial" panose="020B0604020202020204" pitchFamily="34" charset="0"/>
                            </a:rPr>
                            <a:t>Sum of common shares (equivalent for non-joint stock companies* ) and stock surplus, retained earnings, other comprehensive income, qualifying minority interest and regulatory adjust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4"/>
                          <a:stretch>
                            <a:fillRect l="-334962" t="-602" r="-752" b="-158434"/>
                          </a:stretch>
                        </a:blipFill>
                      </a:tcPr>
                    </a:tc>
                    <a:extLst>
                      <a:ext uri="{0D108BD9-81ED-4DB2-BD59-A6C34878D82A}">
                        <a16:rowId xmlns:a16="http://schemas.microsoft.com/office/drawing/2014/main" val="2535638700"/>
                      </a:ext>
                    </a:extLst>
                  </a:tr>
                  <a:tr h="739521">
                    <a:tc vMerge="1">
                      <a:txBody>
                        <a:bodyPr/>
                        <a:lstStyle/>
                        <a:p>
                          <a:endParaRPr lang="en-GB" dirty="0"/>
                        </a:p>
                      </a:txBody>
                      <a:tcPr/>
                    </a:tc>
                    <a:tc>
                      <a:txBody>
                        <a:bodyPr/>
                        <a:lstStyle/>
                        <a:p>
                          <a:r>
                            <a:rPr lang="en-GB" sz="1200" b="1" dirty="0">
                              <a:solidFill>
                                <a:schemeClr val="tx1"/>
                              </a:solidFill>
                              <a:latin typeface="Arial" panose="020B0604020202020204" pitchFamily="34" charset="0"/>
                              <a:cs typeface="Arial" panose="020B0604020202020204" pitchFamily="34" charset="0"/>
                            </a:rPr>
                            <a:t>Additional Tier 1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200" b="0" dirty="0">
                              <a:solidFill>
                                <a:schemeClr val="tx1"/>
                              </a:solidFill>
                              <a:latin typeface="Arial" panose="020B0604020202020204" pitchFamily="34" charset="0"/>
                              <a:cs typeface="Arial" panose="020B0604020202020204" pitchFamily="34" charset="0"/>
                            </a:rPr>
                            <a:t>Sum of capital instruments meeting the criteria for AT1 and related surplus, additional qualifying minority interest and regulatory adjust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4"/>
                          <a:stretch>
                            <a:fillRect l="-334962" t="-138017" r="-752" b="-117355"/>
                          </a:stretch>
                        </a:blipFill>
                      </a:tcPr>
                    </a:tc>
                    <a:extLst>
                      <a:ext uri="{0D108BD9-81ED-4DB2-BD59-A6C34878D82A}">
                        <a16:rowId xmlns:a16="http://schemas.microsoft.com/office/drawing/2014/main" val="197582578"/>
                      </a:ext>
                    </a:extLst>
                  </a:tr>
                  <a:tr h="822960">
                    <a:tc>
                      <a:txBody>
                        <a:bodyPr/>
                        <a:lstStyle/>
                        <a:p>
                          <a:r>
                            <a:rPr lang="en-GB" sz="1200" b="1" dirty="0">
                              <a:solidFill>
                                <a:schemeClr val="tx1"/>
                              </a:solidFill>
                              <a:latin typeface="Arial" panose="020B0604020202020204" pitchFamily="34" charset="0"/>
                              <a:cs typeface="Arial" panose="020B0604020202020204" pitchFamily="34" charset="0"/>
                            </a:rPr>
                            <a:t>Tier 2 (gone concer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12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200" b="0" dirty="0">
                              <a:solidFill>
                                <a:schemeClr val="tx1"/>
                              </a:solidFill>
                              <a:latin typeface="Arial" panose="020B0604020202020204" pitchFamily="34" charset="0"/>
                              <a:cs typeface="Arial" panose="020B0604020202020204" pitchFamily="34" charset="0"/>
                            </a:rPr>
                            <a:t>Sum of capital instruments meeting the criteria for Tier 2 and related surplus, additional qualifying minority interest, qualifying loan loss provisions and regulatory adjust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4"/>
                          <a:stretch>
                            <a:fillRect l="-334962" t="-211765" r="-752" b="-4412"/>
                          </a:stretch>
                        </a:blipFill>
                      </a:tcPr>
                    </a:tc>
                    <a:extLst>
                      <a:ext uri="{0D108BD9-81ED-4DB2-BD59-A6C34878D82A}">
                        <a16:rowId xmlns:a16="http://schemas.microsoft.com/office/drawing/2014/main" val="909061230"/>
                      </a:ext>
                    </a:extLst>
                  </a:tr>
                </a:tbl>
              </a:graphicData>
            </a:graphic>
          </p:graphicFrame>
        </mc:Fallback>
      </mc:AlternateContent>
      <p:cxnSp>
        <p:nvCxnSpPr>
          <p:cNvPr id="30" name="Straight Arrow Connector 29">
            <a:extLst>
              <a:ext uri="{FF2B5EF4-FFF2-40B4-BE49-F238E27FC236}">
                <a16:creationId xmlns:a16="http://schemas.microsoft.com/office/drawing/2014/main" id="{33F3336C-F2D9-C023-5738-1D473A5E5868}"/>
              </a:ext>
            </a:extLst>
          </p:cNvPr>
          <p:cNvCxnSpPr/>
          <p:nvPr/>
        </p:nvCxnSpPr>
        <p:spPr>
          <a:xfrm>
            <a:off x="5262874" y="3538913"/>
            <a:ext cx="755009" cy="4323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8E818CDA-E7D0-4EEA-3CA0-BE69582D1A0F}"/>
              </a:ext>
            </a:extLst>
          </p:cNvPr>
          <p:cNvCxnSpPr>
            <a:cxnSpLocks/>
          </p:cNvCxnSpPr>
          <p:nvPr/>
        </p:nvCxnSpPr>
        <p:spPr>
          <a:xfrm flipH="1">
            <a:off x="10382462" y="3515766"/>
            <a:ext cx="683267" cy="70817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CC58600E-0CF1-5A74-5B14-B84F00CE3853}"/>
              </a:ext>
            </a:extLst>
          </p:cNvPr>
          <p:cNvSpPr txBox="1"/>
          <p:nvPr/>
        </p:nvSpPr>
        <p:spPr>
          <a:xfrm>
            <a:off x="561066" y="4405387"/>
            <a:ext cx="4227749" cy="769441"/>
          </a:xfrm>
          <a:prstGeom prst="rect">
            <a:avLst/>
          </a:prstGeom>
          <a:noFill/>
          <a:ln>
            <a:solidFill>
              <a:schemeClr val="tx1"/>
            </a:solidFill>
          </a:ln>
        </p:spPr>
        <p:txBody>
          <a:bodyPr wrap="square" rtlCol="0">
            <a:spAutoFit/>
          </a:bodyPr>
          <a:lstStyle/>
          <a:p>
            <a:r>
              <a:rPr lang="en-GB" sz="2200" b="1" dirty="0">
                <a:latin typeface="Arial" panose="020B0604020202020204" pitchFamily="34" charset="0"/>
                <a:cs typeface="Arial" panose="020B0604020202020204" pitchFamily="34" charset="0"/>
              </a:rPr>
              <a:t>RWA = Credit risk + Market risk + Operational risk</a:t>
            </a:r>
          </a:p>
        </p:txBody>
      </p:sp>
      <p:sp>
        <p:nvSpPr>
          <p:cNvPr id="5" name="Rectangle 4">
            <a:extLst>
              <a:ext uri="{FF2B5EF4-FFF2-40B4-BE49-F238E27FC236}">
                <a16:creationId xmlns:a16="http://schemas.microsoft.com/office/drawing/2014/main" id="{CA48A249-AD36-EB3A-0992-6DCB17BA4518}"/>
              </a:ext>
            </a:extLst>
          </p:cNvPr>
          <p:cNvSpPr/>
          <p:nvPr/>
        </p:nvSpPr>
        <p:spPr>
          <a:xfrm>
            <a:off x="1411550" y="4757332"/>
            <a:ext cx="2272683" cy="488272"/>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Tree>
    <p:extLst>
      <p:ext uri="{BB962C8B-B14F-4D97-AF65-F5344CB8AC3E}">
        <p14:creationId xmlns:p14="http://schemas.microsoft.com/office/powerpoint/2010/main" val="24633511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346FA2B-EA52-0797-E19F-BDE1D8CC97E0}"/>
              </a:ext>
            </a:extLst>
          </p:cNvPr>
          <p:cNvSpPr>
            <a:spLocks noGrp="1"/>
          </p:cNvSpPr>
          <p:nvPr>
            <p:ph type="sldNum" sz="quarter" idx="12"/>
          </p:nvPr>
        </p:nvSpPr>
        <p:spPr/>
        <p:txBody>
          <a:bodyPr/>
          <a:lstStyle/>
          <a:p>
            <a:fld id="{48F63A3B-78C7-47BE-AE5E-E10140E04643}" type="slidenum">
              <a:rPr lang="en-US" smtClean="0"/>
              <a:t>9</a:t>
            </a:fld>
            <a:endParaRPr lang="en-US" dirty="0"/>
          </a:p>
        </p:txBody>
      </p:sp>
      <p:sp>
        <p:nvSpPr>
          <p:cNvPr id="3" name="TextBox 2">
            <a:extLst>
              <a:ext uri="{FF2B5EF4-FFF2-40B4-BE49-F238E27FC236}">
                <a16:creationId xmlns:a16="http://schemas.microsoft.com/office/drawing/2014/main" id="{B0B1E3C9-3E00-7AF5-9C86-3E21886F5EB9}"/>
              </a:ext>
            </a:extLst>
          </p:cNvPr>
          <p:cNvSpPr txBox="1"/>
          <p:nvPr/>
        </p:nvSpPr>
        <p:spPr>
          <a:xfrm>
            <a:off x="381959" y="213126"/>
            <a:ext cx="9777440"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2. Measure: added value perspective (not risk appetite) (3/3)</a:t>
            </a:r>
            <a:endPar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6" name="TextBox 5">
            <a:extLst>
              <a:ext uri="{FF2B5EF4-FFF2-40B4-BE49-F238E27FC236}">
                <a16:creationId xmlns:a16="http://schemas.microsoft.com/office/drawing/2014/main" id="{89C5E2C8-0113-4940-5D12-CA6A1E57CC5A}"/>
              </a:ext>
            </a:extLst>
          </p:cNvPr>
          <p:cNvSpPr txBox="1"/>
          <p:nvPr/>
        </p:nvSpPr>
        <p:spPr>
          <a:xfrm>
            <a:off x="381958" y="954269"/>
            <a:ext cx="11542949" cy="3693319"/>
          </a:xfrm>
          <a:prstGeom prst="rect">
            <a:avLst/>
          </a:prstGeom>
          <a:noFill/>
        </p:spPr>
        <p:txBody>
          <a:bodyPr wrap="square">
            <a:spAutoFit/>
          </a:bodyPr>
          <a:lstStyle/>
          <a:p>
            <a:endParaRPr lang="en-US" dirty="0"/>
          </a:p>
          <a:p>
            <a:r>
              <a:rPr lang="en-US" dirty="0"/>
              <a:t>Metric III - </a:t>
            </a:r>
            <a:r>
              <a:rPr lang="en-US" b="1" dirty="0"/>
              <a:t>limit on factual losses after realization of operational risk </a:t>
            </a:r>
            <a:r>
              <a:rPr lang="en-US" dirty="0"/>
              <a:t>under Risk Appetite Framework</a:t>
            </a:r>
          </a:p>
          <a:p>
            <a:endParaRPr lang="en-US" dirty="0"/>
          </a:p>
          <a:p>
            <a:endParaRPr lang="en-US" dirty="0"/>
          </a:p>
          <a:p>
            <a:r>
              <a:rPr lang="en-US" dirty="0"/>
              <a:t>Metric IV – Key Risk Indicators (KRI) In addition based on the specific of the processes:</a:t>
            </a:r>
          </a:p>
          <a:p>
            <a:pPr marL="342900" indent="-342900" algn="l">
              <a:buFont typeface="Arial" panose="020B0604020202020204" pitchFamily="34" charset="0"/>
              <a:buChar char="•"/>
            </a:pPr>
            <a:r>
              <a:rPr lang="en-US" b="1" dirty="0"/>
              <a:t>Internal Fraud.</a:t>
            </a:r>
            <a:r>
              <a:rPr lang="en-US" dirty="0"/>
              <a:t> Quantity</a:t>
            </a:r>
            <a:r>
              <a:rPr lang="ru-RU" dirty="0"/>
              <a:t> </a:t>
            </a:r>
            <a:r>
              <a:rPr lang="en-US" dirty="0"/>
              <a:t>and severity of fraudulent activities by employees: theft, embezzlement, bribery, etc.</a:t>
            </a:r>
          </a:p>
          <a:p>
            <a:pPr marL="342900" indent="-342900" algn="l">
              <a:buFont typeface="Arial" panose="020B0604020202020204" pitchFamily="34" charset="0"/>
              <a:buChar char="•"/>
            </a:pPr>
            <a:r>
              <a:rPr lang="en-US" b="1" dirty="0"/>
              <a:t>External Fraud.</a:t>
            </a:r>
            <a:r>
              <a:rPr lang="en-US" dirty="0"/>
              <a:t> Quantity</a:t>
            </a:r>
            <a:r>
              <a:rPr lang="ru-RU" dirty="0"/>
              <a:t> </a:t>
            </a:r>
            <a:r>
              <a:rPr lang="en-US" dirty="0"/>
              <a:t>and severity of of fraudulent activities from external parties: customer fraud, cyber attacks, </a:t>
            </a:r>
            <a:r>
              <a:rPr lang="en-US" dirty="0" err="1"/>
              <a:t>etc</a:t>
            </a:r>
            <a:endParaRPr lang="en-US" dirty="0"/>
          </a:p>
          <a:p>
            <a:pPr marL="342900" indent="-342900" algn="l">
              <a:buFont typeface="Arial" panose="020B0604020202020204" pitchFamily="34" charset="0"/>
              <a:buChar char="•"/>
            </a:pPr>
            <a:r>
              <a:rPr lang="en-US" b="1" dirty="0"/>
              <a:t>Compliance Breaches</a:t>
            </a:r>
            <a:r>
              <a:rPr lang="ru-RU" b="1" dirty="0"/>
              <a:t>.</a:t>
            </a:r>
            <a:r>
              <a:rPr lang="en-US" dirty="0"/>
              <a:t> Quantity</a:t>
            </a:r>
            <a:r>
              <a:rPr lang="ru-RU" dirty="0"/>
              <a:t> </a:t>
            </a:r>
            <a:r>
              <a:rPr lang="en-US" dirty="0"/>
              <a:t>and severity of breaches of laws and regulations.</a:t>
            </a:r>
          </a:p>
          <a:p>
            <a:pPr marL="342900" indent="-342900" algn="l">
              <a:buFont typeface="Arial" panose="020B0604020202020204" pitchFamily="34" charset="0"/>
              <a:buChar char="•"/>
            </a:pPr>
            <a:r>
              <a:rPr lang="en-US" b="1" dirty="0"/>
              <a:t>Customer Complaints</a:t>
            </a:r>
            <a:r>
              <a:rPr lang="ru-RU" b="1" dirty="0"/>
              <a:t>.</a:t>
            </a:r>
            <a:r>
              <a:rPr lang="en-US" dirty="0"/>
              <a:t> Quantity</a:t>
            </a:r>
            <a:r>
              <a:rPr lang="ru-RU" dirty="0"/>
              <a:t> </a:t>
            </a:r>
            <a:r>
              <a:rPr lang="en-US" dirty="0"/>
              <a:t>and severity of customer complaints.</a:t>
            </a:r>
          </a:p>
          <a:p>
            <a:pPr marL="342900" indent="-342900" algn="l">
              <a:buFont typeface="Arial" panose="020B0604020202020204" pitchFamily="34" charset="0"/>
              <a:buChar char="•"/>
            </a:pPr>
            <a:r>
              <a:rPr lang="en-US" b="1" dirty="0"/>
              <a:t>Business Disruption</a:t>
            </a:r>
            <a:r>
              <a:rPr lang="ru-RU" b="1" dirty="0"/>
              <a:t>.</a:t>
            </a:r>
            <a:r>
              <a:rPr lang="en-US" dirty="0"/>
              <a:t> Duration and severity of operations disruptions or delays in customer service.</a:t>
            </a:r>
          </a:p>
          <a:p>
            <a:pPr marL="342900" indent="-342900" algn="l">
              <a:buFont typeface="Arial" panose="020B0604020202020204" pitchFamily="34" charset="0"/>
              <a:buChar char="•"/>
            </a:pPr>
            <a:r>
              <a:rPr lang="en-US" b="1" dirty="0"/>
              <a:t>IT System Failures.</a:t>
            </a:r>
            <a:r>
              <a:rPr lang="en-US" dirty="0"/>
              <a:t> Quantity and severity of IT system failures, including system downtime, data breaches, and other cyber incidents.</a:t>
            </a:r>
          </a:p>
        </p:txBody>
      </p:sp>
      <p:sp>
        <p:nvSpPr>
          <p:cNvPr id="4" name="TextBox 3">
            <a:extLst>
              <a:ext uri="{FF2B5EF4-FFF2-40B4-BE49-F238E27FC236}">
                <a16:creationId xmlns:a16="http://schemas.microsoft.com/office/drawing/2014/main" id="{07DDE0EA-9321-4A93-FB77-E567B3BF710F}"/>
              </a:ext>
            </a:extLst>
          </p:cNvPr>
          <p:cNvSpPr txBox="1"/>
          <p:nvPr/>
        </p:nvSpPr>
        <p:spPr>
          <a:xfrm>
            <a:off x="10771354" y="259293"/>
            <a:ext cx="1038687" cy="430887"/>
          </a:xfrm>
          <a:prstGeom prst="rect">
            <a:avLst/>
          </a:prstGeom>
          <a:noFill/>
          <a:ln>
            <a:solidFill>
              <a:srgbClr val="7030A0"/>
            </a:solidFill>
          </a:ln>
        </p:spPr>
        <p:txBody>
          <a:bodyPr wrap="square" rtlCol="0">
            <a:spAutoFit/>
          </a:bodyPr>
          <a:lstStyle/>
          <a:p>
            <a:r>
              <a:rPr lang="en-US" sz="2200" dirty="0">
                <a:solidFill>
                  <a:srgbClr val="7030A0"/>
                </a:solidFill>
              </a:rPr>
              <a:t>GPT</a:t>
            </a:r>
            <a:r>
              <a:rPr lang="en-NL" sz="2200" b="0" i="0" dirty="0">
                <a:solidFill>
                  <a:srgbClr val="7030A0"/>
                </a:solidFill>
                <a:effectLst/>
                <a:latin typeface="arial" panose="020B0604020202020204" pitchFamily="34" charset="0"/>
              </a:rPr>
              <a:t> ©</a:t>
            </a:r>
            <a:endParaRPr lang="en-NL" sz="2200" dirty="0">
              <a:solidFill>
                <a:srgbClr val="7030A0"/>
              </a:solidFill>
              <a:latin typeface="arial" panose="020B0604020202020204" pitchFamily="34" charset="0"/>
            </a:endParaRPr>
          </a:p>
        </p:txBody>
      </p:sp>
    </p:spTree>
    <p:extLst>
      <p:ext uri="{BB962C8B-B14F-4D97-AF65-F5344CB8AC3E}">
        <p14:creationId xmlns:p14="http://schemas.microsoft.com/office/powerpoint/2010/main" val="4602728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700&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4&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bNumberIsYear val=&quot;0&quot;/&gt;&lt;m_strFormatTime&gt;%m.%y&lt;/m_strFormatTime&gt;&lt;m_yearfmt&gt;&lt;begin val=&quot;4&quot;/&gt;&lt;end val=&quot;4&quot;/&gt;&lt;/m_yearfmt&gt;&lt;/m_precDefaultMonth&gt;&lt;m_precDefaultQuarter&gt;&lt;m_bNumberIsYear val=&quot;0&quot;/&gt;&lt;m_strFormatTime&gt;%6/%y&lt;/m_strFormatTime&gt;&lt;m_yearfmt&gt;&lt;begin val=&quot;4&quot;/&gt;&lt;end val=&quot;4&quot;/&gt;&lt;/m_yearfmt&gt;&lt;/m_precDefaultQuarter&gt;&lt;m_precDefaultYear&gt;&lt;m_bNumberIsYear val=&quot;0&quot;/&gt;&lt;m_strFormatTime&gt;%y&lt;/m_strFormatTime&gt;&lt;m_yearfmt&gt;&lt;begin val=&quot;4&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4&quot;&gt;&lt;elem m_fUsage=&quot;3.92657400688263980015E+00&quot;&gt;&lt;m_msothmcolidx val=&quot;0&quot;/&gt;&lt;m_rgb r=&quot;01&quot; g=&quot;D0&quot; b=&quot;B2&quot;/&gt;&lt;/elem&gt;&lt;elem m_fUsage=&quot;3.48640357080415252966E+00&quot;&gt;&lt;m_msothmcolidx val=&quot;0&quot;/&gt;&lt;m_rgb r=&quot;EB&quot; g=&quot;3C&quot; b=&quot;51&quot;/&gt;&lt;/elem&gt;&lt;elem m_fUsage=&quot;1.13304187590217297910E+00&quot;&gt;&lt;m_msothmcolidx val=&quot;0&quot;/&gt;&lt;m_rgb r=&quot;1F&quot; g=&quot;4E&quot; b=&quot;79&quot;/&gt;&lt;/elem&gt;&lt;elem m_fUsage=&quot;9.00000000000000022204E-01&quot;&gt;&lt;m_msothmcolidx val=&quot;0&quot;/&gt;&lt;m_rgb r=&quot;1A&quot; g=&quot;CC&quot; b=&quot;B3&quot;/&gt;&lt;/elem&gt;&lt;elem m_fUsage=&quot;4.65496520594089135958E-01&quot;&gt;&lt;m_msothmcolidx val=&quot;0&quot;/&gt;&lt;m_rgb r=&quot;BF&quot; g=&quot;D9&quot; b=&quot;F2&quot;/&gt;&lt;/elem&gt;&lt;elem m_fUsage=&quot;6.92046620607724011220E-02&quot;&gt;&lt;m_msothmcolidx val=&quot;0&quot;/&gt;&lt;m_rgb r=&quot;67&quot; g=&quot;A3&quot; b=&quot;DE&quot;/&gt;&lt;/elem&gt;&lt;elem m_fUsage=&quot;5.72641689702235463094E-03&quot;&gt;&lt;m_msothmcolidx val=&quot;0&quot;/&gt;&lt;m_rgb r=&quot;5C&quot; g=&quot;9C&quot; b=&quot;DB&quot;/&gt;&lt;/elem&gt;&lt;elem m_fUsage=&quot;5.25757294306693385988E-03&quot;&gt;&lt;m_msothmcolidx val=&quot;0&quot;/&gt;&lt;m_rgb r=&quot;29&quot; g=&quot;68&quot; b=&quot;A0&quot;/&gt;&lt;/elem&gt;&lt;elem m_fUsage=&quot;4.72836216603517416751E-03&quot;&gt;&lt;m_msothmcolidx val=&quot;0&quot;/&gt;&lt;m_rgb r=&quot;1B&quot; g=&quot;4B&quot; b=&quot;7C&quot;/&gt;&lt;/elem&gt;&lt;elem m_fUsage=&quot;2.60386015355053073925E-03&quot;&gt;&lt;m_msothmcolidx val=&quot;0&quot;/&gt;&lt;m_rgb r=&quot;FB&quot; g=&quot;C6&quot; b=&quot;7A&quot;/&gt;&lt;/elem&gt;&lt;elem m_fUsage=&quot;3.28067878494868730033E-04&quot;&gt;&lt;m_msothmcolidx val=&quot;0&quot;/&gt;&lt;m_rgb r=&quot;D5&quot; g=&quot;E3&quot; b=&quot;F0&quot;/&gt;&lt;/elem&gt;&lt;elem m_fUsage=&quot;2.42749445031547234118E-04&quot;&gt;&lt;m_msothmcolidx val=&quot;0&quot;/&gt;&lt;m_rgb r=&quot;19&quot; g=&quot;C4&quot; b=&quot;AD&quot;/&gt;&lt;/elem&gt;&lt;elem m_fUsage=&quot;1.27147365874567412668E-04&quot;&gt;&lt;m_msothmcolidx val=&quot;0&quot;/&gt;&lt;m_rgb r=&quot;99&quot; g=&quot;C1&quot; b=&quot;EA&quot;/&gt;&lt;/elem&gt;&lt;elem m_fUsage=&quot;1.14663209187165971619E-04&quot;&gt;&lt;m_msothmcolidx val=&quot;0&quot;/&gt;&lt;m_rgb r=&quot;44&quot; g=&quot;8D&quot; b=&quot;D7&quot;/&gt;&lt;/elem&gt;&lt;elem m_fUsage=&quot;8.00732654508037438581E-05&quot;&gt;&lt;m_msothmcolidx val=&quot;0&quot;/&gt;&lt;m_rgb r=&quot;14&quot; g=&quot;38&quot; b=&quot;5C&quot;/&gt;&lt;/elem&gt;&lt;elem m_fUsage=&quot;2.03296708912534923022E-05&quot;&gt;&lt;m_msothmcolidx val=&quot;0&quot;/&gt;&lt;m_rgb r=&quot;0E&quot; g=&quot;29&quot; b=&quot;45&quot;/&gt;&lt;/elem&gt;&lt;elem m_fUsage=&quot;1.41158163862184179890E-05&quot;&gt;&lt;m_msothmcolidx val=&quot;0&quot;/&gt;&lt;m_rgb r=&quot;18&quot; g=&quot;44&quot; b=&quot;70&quot;/&gt;&lt;/elem&gt;&lt;elem m_fUsage=&quot;1.14338112728369176055E-05&quot;&gt;&lt;m_msothmcolidx val=&quot;0&quot;/&gt;&lt;m_rgb r=&quot;C2&quot; g=&quot;D7&quot; b=&quot;EB&quot;/&gt;&lt;/elem&gt;&lt;elem m_fUsage=&quot;1.09907671777604938390E-05&quot;&gt;&lt;m_msothmcolidx val=&quot;0&quot;/&gt;&lt;m_rgb r=&quot;C5&quot; g=&quot;D8&quot; b=&quot;EB&quot;/&gt;&lt;/elem&gt;&lt;elem m_fUsage=&quot;5.60629055364774212656E-06&quot;&gt;&lt;m_msothmcolidx val=&quot;0&quot;/&gt;&lt;m_rgb r=&quot;14&quot; g=&quot;3A&quot; b=&quot;61&quot;/&gt;&lt;/elem&gt;&lt;elem m_fUsage=&quot;4.47282865952980774281E-06&quot;&gt;&lt;m_msothmcolidx val=&quot;0&quot;/&gt;&lt;m_rgb r=&quot;B7&quot; g=&quot;CE&quot; b=&quot;E6&quot;/&gt;&lt;/elem&gt;&lt;elem m_fUsage=&quot;1.54039716234422188595E-06&quot;&gt;&lt;m_msothmcolidx val=&quot;0&quot;/&gt;&lt;m_rgb r=&quot;11&quot; g=&quot;31&quot; b=&quot;51&quot;/&gt;&lt;/elem&gt;&lt;elem m_fUsage=&quot;1.01337161782938879136E-06&quot;&gt;&lt;m_msothmcolidx val=&quot;0&quot;/&gt;&lt;m_rgb r=&quot;16&quot; g=&quot;40&quot; b=&quot;69&quot;/&gt;&lt;/elem&gt;&lt;elem m_fUsage=&quot;8.20831010441804957000E-07&quot;&gt;&lt;m_msothmcolidx val=&quot;0&quot;/&gt;&lt;m_rgb r=&quot;BD&quot; g=&quot;D3&quot; b=&quot;E8&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qb5kBBaRmKiSb.CREWcq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qb5kBBaRmKiSb.CREWc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4F880DBD-1455-B44D-B92A-5811B7384C41}"/>
    </a:ext>
  </a:extLst>
</a:theme>
</file>

<file path=ppt/theme/theme2.xml><?xml version="1.0" encoding="utf-8"?>
<a:theme xmlns:a="http://schemas.openxmlformats.org/drawingml/2006/main" name="1_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50C2D48D-24F4-7843-8069-08EDE33C33AF}"/>
    </a:ext>
  </a:extLst>
</a:theme>
</file>

<file path=ppt/theme/theme3.xml><?xml version="1.0" encoding="utf-8"?>
<a:theme xmlns:a="http://schemas.openxmlformats.org/drawingml/2006/main" name="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549BB1D3-B32A-4745-9436-A6D9416A2C99}"/>
    </a:ext>
  </a:extLst>
</a:theme>
</file>

<file path=ppt/theme/theme4.xml><?xml version="1.0" encoding="utf-8"?>
<a:theme xmlns:a="http://schemas.openxmlformats.org/drawingml/2006/main" name="2_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8294BE27-7173-E440-83D1-EE186411A945}"/>
    </a:ext>
  </a:extLst>
</a:theme>
</file>

<file path=ppt/theme/theme5.xml><?xml version="1.0" encoding="utf-8"?>
<a:theme xmlns:a="http://schemas.openxmlformats.org/drawingml/2006/main" name="4_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0F973EEC-E155-2945-9C0F-824B73A4A9D0}"/>
    </a:ext>
  </a:extLst>
</a:theme>
</file>

<file path=ppt/theme/theme6.xml><?xml version="1.0" encoding="utf-8"?>
<a:theme xmlns:a="http://schemas.openxmlformats.org/drawingml/2006/main" name="Титулы_СБ">
  <a:themeElements>
    <a:clrScheme name="шаблон СБ 1">
      <a:dk1>
        <a:srgbClr val="000000"/>
      </a:dk1>
      <a:lt1>
        <a:srgbClr val="FFFFFF"/>
      </a:lt1>
      <a:dk2>
        <a:srgbClr val="006F3C"/>
      </a:dk2>
      <a:lt2>
        <a:srgbClr val="999999"/>
      </a:lt2>
      <a:accent1>
        <a:srgbClr val="11A74C"/>
      </a:accent1>
      <a:accent2>
        <a:srgbClr val="7DC244"/>
      </a:accent2>
      <a:accent3>
        <a:srgbClr val="DC0F00"/>
      </a:accent3>
      <a:accent4>
        <a:srgbClr val="139884"/>
      </a:accent4>
      <a:accent5>
        <a:srgbClr val="EB7F2E"/>
      </a:accent5>
      <a:accent6>
        <a:srgbClr val="0C8CBB"/>
      </a:accent6>
      <a:hlink>
        <a:srgbClr val="71C7C4"/>
      </a:hlink>
      <a:folHlink>
        <a:srgbClr val="F6AC25"/>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шаблон-СБ-16-9" id="{139DC356-87A8-4CA5-A90F-96BAD60E2965}" vid="{22A53204-ED80-4269-9A04-24C44FF7FB65}"/>
    </a:ext>
  </a:extLst>
</a:theme>
</file>

<file path=ppt/theme/theme7.xml><?xml version="1.0" encoding="utf-8"?>
<a:theme xmlns:a="http://schemas.openxmlformats.org/drawingml/2006/main" name="1_Office Theme">
  <a:themeElements>
    <a:clrScheme name="Тема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Тема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Оформление по умолчанию</Template>
  <TotalTime>153239</TotalTime>
  <Words>2162</Words>
  <Application>Microsoft Office PowerPoint</Application>
  <PresentationFormat>Widescreen</PresentationFormat>
  <Paragraphs>250</Paragraphs>
  <Slides>15</Slides>
  <Notes>0</Notes>
  <HiddenSlides>0</HiddenSlides>
  <MMClips>0</MMClips>
  <ScaleCrop>false</ScaleCrop>
  <HeadingPairs>
    <vt:vector size="8" baseType="variant">
      <vt:variant>
        <vt:lpstr>Fonts Used</vt:lpstr>
      </vt:variant>
      <vt:variant>
        <vt:i4>13</vt:i4>
      </vt:variant>
      <vt:variant>
        <vt:lpstr>Theme</vt:lpstr>
      </vt:variant>
      <vt:variant>
        <vt:i4>7</vt:i4>
      </vt:variant>
      <vt:variant>
        <vt:lpstr>Embedded OLE Servers</vt:lpstr>
      </vt:variant>
      <vt:variant>
        <vt:i4>1</vt:i4>
      </vt:variant>
      <vt:variant>
        <vt:lpstr>Slide Titles</vt:lpstr>
      </vt:variant>
      <vt:variant>
        <vt:i4>15</vt:i4>
      </vt:variant>
    </vt:vector>
  </HeadingPairs>
  <TitlesOfParts>
    <vt:vector size="36" baseType="lpstr">
      <vt:lpstr>Arial</vt:lpstr>
      <vt:lpstr>Arial</vt:lpstr>
      <vt:lpstr>Calibri</vt:lpstr>
      <vt:lpstr>Calibri Light</vt:lpstr>
      <vt:lpstr>Cambria Math</vt:lpstr>
      <vt:lpstr>Circe</vt:lpstr>
      <vt:lpstr>Circe Light</vt:lpstr>
      <vt:lpstr>Fedra Sans Pro Book</vt:lpstr>
      <vt:lpstr>Franklin Gothic Book</vt:lpstr>
      <vt:lpstr>SB Sans Display</vt:lpstr>
      <vt:lpstr>Segoe UI</vt:lpstr>
      <vt:lpstr>Söhne</vt:lpstr>
      <vt:lpstr>Wingdings</vt:lpstr>
      <vt:lpstr>3_Sberbank-theme</vt:lpstr>
      <vt:lpstr>1_Sberbank-theme</vt:lpstr>
      <vt:lpstr>Sberbank-theme</vt:lpstr>
      <vt:lpstr>2_Sberbank-theme</vt:lpstr>
      <vt:lpstr>4_Sberbank-theme</vt:lpstr>
      <vt:lpstr>Титулы_СБ</vt:lpstr>
      <vt:lpstr>1_Office Theme</vt:lpstr>
      <vt:lpstr>Слайд think-cel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subject/>
  <dc:creator>Microsoft Office User</dc:creator>
  <cp:keywords/>
  <dc:description/>
  <cp:lastModifiedBy>STEPANCHENKO, D. (Dmitrii)</cp:lastModifiedBy>
  <cp:revision>3533</cp:revision>
  <dcterms:created xsi:type="dcterms:W3CDTF">2021-03-01T07:36:38Z</dcterms:created>
  <dcterms:modified xsi:type="dcterms:W3CDTF">2023-02-20T18:51:13Z</dcterms:modified>
  <cp:category/>
</cp:coreProperties>
</file>